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5" r:id="rId1"/>
    <p:sldMasterId id="2147483794" r:id="rId2"/>
  </p:sldMasterIdLst>
  <p:notesMasterIdLst>
    <p:notesMasterId r:id="rId15"/>
  </p:notesMasterIdLst>
  <p:handoutMasterIdLst>
    <p:handoutMasterId r:id="rId16"/>
  </p:handoutMasterIdLst>
  <p:sldIdLst>
    <p:sldId id="579" r:id="rId3"/>
    <p:sldId id="580" r:id="rId4"/>
    <p:sldId id="581" r:id="rId5"/>
    <p:sldId id="582" r:id="rId6"/>
    <p:sldId id="822" r:id="rId7"/>
    <p:sldId id="832" r:id="rId8"/>
    <p:sldId id="589" r:id="rId9"/>
    <p:sldId id="920" r:id="rId10"/>
    <p:sldId id="815" r:id="rId11"/>
    <p:sldId id="584" r:id="rId12"/>
    <p:sldId id="1012" r:id="rId13"/>
    <p:sldId id="1013" r:id="rId14"/>
  </p:sldIdLst>
  <p:sldSz cx="9144000" cy="6858000" type="screen4x3"/>
  <p:notesSz cx="6950075" cy="9236075"/>
  <p:custShowLst>
    <p:custShow name="Custom Show 1" id="0">
      <p:sldLst/>
    </p:custShow>
  </p:custShowLst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02" userDrawn="1">
          <p15:clr>
            <a:srgbClr val="A4A3A4"/>
          </p15:clr>
        </p15:guide>
        <p15:guide id="2" pos="1927" userDrawn="1">
          <p15:clr>
            <a:srgbClr val="A4A3A4"/>
          </p15:clr>
        </p15:guide>
        <p15:guide id="3" pos="3787" userDrawn="1">
          <p15:clr>
            <a:srgbClr val="A4A3A4"/>
          </p15:clr>
        </p15:guide>
        <p15:guide id="4" orient="horz" pos="27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D0"/>
    <a:srgbClr val="2576B7"/>
    <a:srgbClr val="000000"/>
    <a:srgbClr val="7CADD4"/>
    <a:srgbClr val="333138"/>
    <a:srgbClr val="3DD3B6"/>
    <a:srgbClr val="0096DA"/>
    <a:srgbClr val="2976A0"/>
    <a:srgbClr val="307FA6"/>
    <a:srgbClr val="317F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54985E-1CC8-49B8-A5E1-124634667411}" v="43" dt="2019-06-04T13:48:00.348"/>
    <p1510:client id="{FC0C5BA3-E221-4C65-9E92-CF2360E2FB9E}" v="7" dt="2019-06-03T19:04:33.8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3814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2466" y="114"/>
      </p:cViewPr>
      <p:guideLst>
        <p:guide orient="horz" pos="1502"/>
        <p:guide pos="1927"/>
        <p:guide pos="3787"/>
        <p:guide orient="horz" pos="277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131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130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 Hebert" userId="32c4521d-c8de-4752-af12-faa11a988016" providerId="ADAL" clId="{D20541EA-CDC6-4019-AD90-93A0189CAB9A}"/>
    <pc:docChg chg="undo custSel modSld">
      <pc:chgData name="Michel Hebert" userId="32c4521d-c8de-4752-af12-faa11a988016" providerId="ADAL" clId="{D20541EA-CDC6-4019-AD90-93A0189CAB9A}" dt="2019-04-04T19:43:43.788" v="838" actId="20577"/>
      <pc:docMkLst>
        <pc:docMk/>
      </pc:docMkLst>
      <pc:sldChg chg="modSp">
        <pc:chgData name="Michel Hebert" userId="32c4521d-c8de-4752-af12-faa11a988016" providerId="ADAL" clId="{D20541EA-CDC6-4019-AD90-93A0189CAB9A}" dt="2019-04-03T13:27:34.768" v="83" actId="20577"/>
        <pc:sldMkLst>
          <pc:docMk/>
          <pc:sldMk cId="4246001317" sldId="561"/>
        </pc:sldMkLst>
        <pc:spChg chg="mod">
          <ac:chgData name="Michel Hebert" userId="32c4521d-c8de-4752-af12-faa11a988016" providerId="ADAL" clId="{D20541EA-CDC6-4019-AD90-93A0189CAB9A}" dt="2019-04-03T13:27:34.768" v="83" actId="20577"/>
          <ac:spMkLst>
            <pc:docMk/>
            <pc:sldMk cId="4246001317" sldId="561"/>
            <ac:spMk id="11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7:48.773" v="94" actId="20577"/>
        <pc:sldMkLst>
          <pc:docMk/>
          <pc:sldMk cId="369766352" sldId="567"/>
        </pc:sldMkLst>
        <pc:spChg chg="mod">
          <ac:chgData name="Michel Hebert" userId="32c4521d-c8de-4752-af12-faa11a988016" providerId="ADAL" clId="{D20541EA-CDC6-4019-AD90-93A0189CAB9A}" dt="2019-04-03T13:27:48.773" v="94" actId="20577"/>
          <ac:spMkLst>
            <pc:docMk/>
            <pc:sldMk cId="369766352" sldId="567"/>
            <ac:spMk id="14" creationId="{00000000-0000-0000-0000-000000000000}"/>
          </ac:spMkLst>
        </pc:spChg>
        <pc:grpChg chg="mod">
          <ac:chgData name="Michel Hebert" userId="32c4521d-c8de-4752-af12-faa11a988016" providerId="ADAL" clId="{D20541EA-CDC6-4019-AD90-93A0189CAB9A}" dt="2019-04-03T13:27:42.199" v="84" actId="14100"/>
          <ac:grpSpMkLst>
            <pc:docMk/>
            <pc:sldMk cId="369766352" sldId="567"/>
            <ac:grpSpMk id="12" creationId="{00000000-0000-0000-0000-000000000000}"/>
          </ac:grpSpMkLst>
        </pc:grpChg>
      </pc:sldChg>
      <pc:sldChg chg="addSp delSp modSp">
        <pc:chgData name="Michel Hebert" userId="32c4521d-c8de-4752-af12-faa11a988016" providerId="ADAL" clId="{D20541EA-CDC6-4019-AD90-93A0189CAB9A}" dt="2019-04-03T15:49:07.456" v="751" actId="1076"/>
        <pc:sldMkLst>
          <pc:docMk/>
          <pc:sldMk cId="3930784627" sldId="589"/>
        </pc:sldMkLst>
        <pc:spChg chg="del">
          <ac:chgData name="Michel Hebert" userId="32c4521d-c8de-4752-af12-faa11a988016" providerId="ADAL" clId="{D20541EA-CDC6-4019-AD90-93A0189CAB9A}" dt="2019-04-03T15:04:05.549" v="301" actId="478"/>
          <ac:spMkLst>
            <pc:docMk/>
            <pc:sldMk cId="3930784627" sldId="589"/>
            <ac:spMk id="4" creationId="{00000000-0000-0000-0000-000000000000}"/>
          </ac:spMkLst>
        </pc:spChg>
        <pc:spChg chg="add mod">
          <ac:chgData name="Michel Hebert" userId="32c4521d-c8de-4752-af12-faa11a988016" providerId="ADAL" clId="{D20541EA-CDC6-4019-AD90-93A0189CAB9A}" dt="2019-04-03T15:49:07.456" v="751" actId="1076"/>
          <ac:spMkLst>
            <pc:docMk/>
            <pc:sldMk cId="3930784627" sldId="589"/>
            <ac:spMk id="32" creationId="{75775900-74D2-4B4E-8FED-28C1842FF506}"/>
          </ac:spMkLst>
        </pc:spChg>
        <pc:picChg chg="del">
          <ac:chgData name="Michel Hebert" userId="32c4521d-c8de-4752-af12-faa11a988016" providerId="ADAL" clId="{D20541EA-CDC6-4019-AD90-93A0189CAB9A}" dt="2019-04-03T15:04:02.315" v="300" actId="478"/>
          <ac:picMkLst>
            <pc:docMk/>
            <pc:sldMk cId="3930784627" sldId="589"/>
            <ac:picMk id="5" creationId="{00000000-0000-0000-0000-000000000000}"/>
          </ac:picMkLst>
        </pc:picChg>
        <pc:picChg chg="add mod">
          <ac:chgData name="Michel Hebert" userId="32c4521d-c8de-4752-af12-faa11a988016" providerId="ADAL" clId="{D20541EA-CDC6-4019-AD90-93A0189CAB9A}" dt="2019-04-03T15:48:18.017" v="677" actId="1076"/>
          <ac:picMkLst>
            <pc:docMk/>
            <pc:sldMk cId="3930784627" sldId="589"/>
            <ac:picMk id="24" creationId="{1308F061-2CCF-4FF3-88CE-359755878D51}"/>
          </ac:picMkLst>
        </pc:picChg>
        <pc:picChg chg="add mod">
          <ac:chgData name="Michel Hebert" userId="32c4521d-c8de-4752-af12-faa11a988016" providerId="ADAL" clId="{D20541EA-CDC6-4019-AD90-93A0189CAB9A}" dt="2019-04-03T15:48:18.017" v="677" actId="1076"/>
          <ac:picMkLst>
            <pc:docMk/>
            <pc:sldMk cId="3930784627" sldId="589"/>
            <ac:picMk id="30" creationId="{9E74686F-79FA-4A54-AC11-472334D196CB}"/>
          </ac:picMkLst>
        </pc:picChg>
        <pc:picChg chg="add mod">
          <ac:chgData name="Michel Hebert" userId="32c4521d-c8de-4752-af12-faa11a988016" providerId="ADAL" clId="{D20541EA-CDC6-4019-AD90-93A0189CAB9A}" dt="2019-04-03T15:48:18.017" v="677" actId="1076"/>
          <ac:picMkLst>
            <pc:docMk/>
            <pc:sldMk cId="3930784627" sldId="589"/>
            <ac:picMk id="31" creationId="{C2DB1089-54FC-47AF-A7D8-FFE01BFEAE4A}"/>
          </ac:picMkLst>
        </pc:picChg>
      </pc:sldChg>
      <pc:sldChg chg="modSp">
        <pc:chgData name="Michel Hebert" userId="32c4521d-c8de-4752-af12-faa11a988016" providerId="ADAL" clId="{D20541EA-CDC6-4019-AD90-93A0189CAB9A}" dt="2019-04-03T15:14:59.854" v="384" actId="5793"/>
        <pc:sldMkLst>
          <pc:docMk/>
          <pc:sldMk cId="922758747" sldId="649"/>
        </pc:sldMkLst>
        <pc:graphicFrameChg chg="modGraphic">
          <ac:chgData name="Michel Hebert" userId="32c4521d-c8de-4752-af12-faa11a988016" providerId="ADAL" clId="{D20541EA-CDC6-4019-AD90-93A0189CAB9A}" dt="2019-04-03T15:14:59.854" v="384" actId="5793"/>
          <ac:graphicFrameMkLst>
            <pc:docMk/>
            <pc:sldMk cId="922758747" sldId="649"/>
            <ac:graphicFrameMk id="23" creationId="{00000000-0000-0000-0000-000000000000}"/>
          </ac:graphicFrameMkLst>
        </pc:graphicFrameChg>
      </pc:sldChg>
      <pc:sldChg chg="modSp">
        <pc:chgData name="Michel Hebert" userId="32c4521d-c8de-4752-af12-faa11a988016" providerId="ADAL" clId="{D20541EA-CDC6-4019-AD90-93A0189CAB9A}" dt="2019-04-04T19:43:43.788" v="838" actId="20577"/>
        <pc:sldMkLst>
          <pc:docMk/>
          <pc:sldMk cId="812055142" sldId="832"/>
        </pc:sldMkLst>
        <pc:graphicFrameChg chg="modGraphic">
          <ac:chgData name="Michel Hebert" userId="32c4521d-c8de-4752-af12-faa11a988016" providerId="ADAL" clId="{D20541EA-CDC6-4019-AD90-93A0189CAB9A}" dt="2019-04-04T19:43:43.788" v="838" actId="20577"/>
          <ac:graphicFrameMkLst>
            <pc:docMk/>
            <pc:sldMk cId="812055142" sldId="832"/>
            <ac:graphicFrameMk id="4" creationId="{00000000-0000-0000-0000-000000000000}"/>
          </ac:graphicFrameMkLst>
        </pc:graphicFrameChg>
      </pc:sldChg>
      <pc:sldChg chg="modSp">
        <pc:chgData name="Michel Hebert" userId="32c4521d-c8de-4752-af12-faa11a988016" providerId="ADAL" clId="{D20541EA-CDC6-4019-AD90-93A0189CAB9A}" dt="2019-04-03T15:47:33.304" v="675" actId="1076"/>
        <pc:sldMkLst>
          <pc:docMk/>
          <pc:sldMk cId="4067458198" sldId="846"/>
        </pc:sldMkLst>
        <pc:spChg chg="mod">
          <ac:chgData name="Michel Hebert" userId="32c4521d-c8de-4752-af12-faa11a988016" providerId="ADAL" clId="{D20541EA-CDC6-4019-AD90-93A0189CAB9A}" dt="2019-04-03T15:46:58.141" v="668" actId="20577"/>
          <ac:spMkLst>
            <pc:docMk/>
            <pc:sldMk cId="4067458198" sldId="846"/>
            <ac:spMk id="10" creationId="{00000000-0000-0000-0000-000000000000}"/>
          </ac:spMkLst>
        </pc:spChg>
        <pc:spChg chg="mod">
          <ac:chgData name="Michel Hebert" userId="32c4521d-c8de-4752-af12-faa11a988016" providerId="ADAL" clId="{D20541EA-CDC6-4019-AD90-93A0189CAB9A}" dt="2019-04-03T15:46:45.999" v="655" actId="1076"/>
          <ac:spMkLst>
            <pc:docMk/>
            <pc:sldMk cId="4067458198" sldId="846"/>
            <ac:spMk id="31" creationId="{00000000-0000-0000-0000-000000000000}"/>
          </ac:spMkLst>
        </pc:spChg>
        <pc:spChg chg="mod">
          <ac:chgData name="Michel Hebert" userId="32c4521d-c8de-4752-af12-faa11a988016" providerId="ADAL" clId="{D20541EA-CDC6-4019-AD90-93A0189CAB9A}" dt="2019-04-03T13:25:59.570" v="19" actId="313"/>
          <ac:spMkLst>
            <pc:docMk/>
            <pc:sldMk cId="4067458198" sldId="846"/>
            <ac:spMk id="37" creationId="{00000000-0000-0000-0000-000000000000}"/>
          </ac:spMkLst>
        </pc:spChg>
        <pc:picChg chg="mod">
          <ac:chgData name="Michel Hebert" userId="32c4521d-c8de-4752-af12-faa11a988016" providerId="ADAL" clId="{D20541EA-CDC6-4019-AD90-93A0189CAB9A}" dt="2019-04-03T15:46:50.223" v="656" actId="1076"/>
          <ac:picMkLst>
            <pc:docMk/>
            <pc:sldMk cId="4067458198" sldId="846"/>
            <ac:picMk id="32" creationId="{00000000-0000-0000-0000-000000000000}"/>
          </ac:picMkLst>
        </pc:picChg>
        <pc:picChg chg="mod">
          <ac:chgData name="Michel Hebert" userId="32c4521d-c8de-4752-af12-faa11a988016" providerId="ADAL" clId="{D20541EA-CDC6-4019-AD90-93A0189CAB9A}" dt="2019-04-03T15:47:11.368" v="671" actId="1076"/>
          <ac:picMkLst>
            <pc:docMk/>
            <pc:sldMk cId="4067458198" sldId="846"/>
            <ac:picMk id="34" creationId="{00000000-0000-0000-0000-000000000000}"/>
          </ac:picMkLst>
        </pc:picChg>
        <pc:picChg chg="mod">
          <ac:chgData name="Michel Hebert" userId="32c4521d-c8de-4752-af12-faa11a988016" providerId="ADAL" clId="{D20541EA-CDC6-4019-AD90-93A0189CAB9A}" dt="2019-04-03T15:47:25.263" v="674" actId="1076"/>
          <ac:picMkLst>
            <pc:docMk/>
            <pc:sldMk cId="4067458198" sldId="846"/>
            <ac:picMk id="40" creationId="{00000000-0000-0000-0000-000000000000}"/>
          </ac:picMkLst>
        </pc:picChg>
        <pc:picChg chg="mod">
          <ac:chgData name="Michel Hebert" userId="32c4521d-c8de-4752-af12-faa11a988016" providerId="ADAL" clId="{D20541EA-CDC6-4019-AD90-93A0189CAB9A}" dt="2019-04-03T15:47:33.304" v="675" actId="1076"/>
          <ac:picMkLst>
            <pc:docMk/>
            <pc:sldMk cId="4067458198" sldId="846"/>
            <ac:picMk id="42" creationId="{00000000-0000-0000-0000-000000000000}"/>
          </ac:picMkLst>
        </pc:picChg>
      </pc:sldChg>
      <pc:sldChg chg="modSp">
        <pc:chgData name="Michel Hebert" userId="32c4521d-c8de-4752-af12-faa11a988016" providerId="ADAL" clId="{D20541EA-CDC6-4019-AD90-93A0189CAB9A}" dt="2019-04-03T13:32:11.346" v="298" actId="20577"/>
        <pc:sldMkLst>
          <pc:docMk/>
          <pc:sldMk cId="3206506963" sldId="847"/>
        </pc:sldMkLst>
        <pc:spChg chg="mod">
          <ac:chgData name="Michel Hebert" userId="32c4521d-c8de-4752-af12-faa11a988016" providerId="ADAL" clId="{D20541EA-CDC6-4019-AD90-93A0189CAB9A}" dt="2019-04-03T13:32:11.346" v="298" actId="20577"/>
          <ac:spMkLst>
            <pc:docMk/>
            <pc:sldMk cId="3206506963" sldId="847"/>
            <ac:spMk id="12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5:05:30.184" v="308" actId="14100"/>
        <pc:sldMkLst>
          <pc:docMk/>
          <pc:sldMk cId="678166242" sldId="911"/>
        </pc:sldMkLst>
        <pc:spChg chg="mod">
          <ac:chgData name="Michel Hebert" userId="32c4521d-c8de-4752-af12-faa11a988016" providerId="ADAL" clId="{D20541EA-CDC6-4019-AD90-93A0189CAB9A}" dt="2019-04-03T15:05:30.184" v="308" actId="14100"/>
          <ac:spMkLst>
            <pc:docMk/>
            <pc:sldMk cId="678166242" sldId="911"/>
            <ac:spMk id="31" creationId="{00000000-0000-0000-0000-000000000000}"/>
          </ac:spMkLst>
        </pc:spChg>
        <pc:spChg chg="mod">
          <ac:chgData name="Michel Hebert" userId="32c4521d-c8de-4752-af12-faa11a988016" providerId="ADAL" clId="{D20541EA-CDC6-4019-AD90-93A0189CAB9A}" dt="2019-04-03T15:05:25.309" v="307" actId="14100"/>
          <ac:spMkLst>
            <pc:docMk/>
            <pc:sldMk cId="678166242" sldId="911"/>
            <ac:spMk id="32" creationId="{00000000-0000-0000-0000-000000000000}"/>
          </ac:spMkLst>
        </pc:spChg>
        <pc:grpChg chg="mod">
          <ac:chgData name="Michel Hebert" userId="32c4521d-c8de-4752-af12-faa11a988016" providerId="ADAL" clId="{D20541EA-CDC6-4019-AD90-93A0189CAB9A}" dt="2019-04-03T15:05:08.001" v="306" actId="14100"/>
          <ac:grpSpMkLst>
            <pc:docMk/>
            <pc:sldMk cId="678166242" sldId="911"/>
            <ac:grpSpMk id="30" creationId="{00000000-0000-0000-0000-000000000000}"/>
          </ac:grpSpMkLst>
        </pc:grpChg>
      </pc:sldChg>
      <pc:sldChg chg="modSp">
        <pc:chgData name="Michel Hebert" userId="32c4521d-c8de-4752-af12-faa11a988016" providerId="ADAL" clId="{D20541EA-CDC6-4019-AD90-93A0189CAB9A}" dt="2019-04-03T15:11:47.400" v="344" actId="20577"/>
        <pc:sldMkLst>
          <pc:docMk/>
          <pc:sldMk cId="999858765" sldId="913"/>
        </pc:sldMkLst>
        <pc:graphicFrameChg chg="modGraphic">
          <ac:chgData name="Michel Hebert" userId="32c4521d-c8de-4752-af12-faa11a988016" providerId="ADAL" clId="{D20541EA-CDC6-4019-AD90-93A0189CAB9A}" dt="2019-04-03T15:11:47.400" v="344" actId="20577"/>
          <ac:graphicFrameMkLst>
            <pc:docMk/>
            <pc:sldMk cId="999858765" sldId="913"/>
            <ac:graphicFrameMk id="23" creationId="{00000000-0000-0000-0000-000000000000}"/>
          </ac:graphicFrameMkLst>
        </pc:graphicFrameChg>
      </pc:sldChg>
      <pc:sldChg chg="modSp">
        <pc:chgData name="Michel Hebert" userId="32c4521d-c8de-4752-af12-faa11a988016" providerId="ADAL" clId="{D20541EA-CDC6-4019-AD90-93A0189CAB9A}" dt="2019-04-03T13:27:22.371" v="72" actId="20577"/>
        <pc:sldMkLst>
          <pc:docMk/>
          <pc:sldMk cId="2906553694" sldId="915"/>
        </pc:sldMkLst>
        <pc:spChg chg="mod">
          <ac:chgData name="Michel Hebert" userId="32c4521d-c8de-4752-af12-faa11a988016" providerId="ADAL" clId="{D20541EA-CDC6-4019-AD90-93A0189CAB9A}" dt="2019-04-03T13:27:22.371" v="72" actId="20577"/>
          <ac:spMkLst>
            <pc:docMk/>
            <pc:sldMk cId="2906553694" sldId="915"/>
            <ac:spMk id="13" creationId="{00000000-0000-0000-0000-000000000000}"/>
          </ac:spMkLst>
        </pc:spChg>
        <pc:grpChg chg="mod">
          <ac:chgData name="Michel Hebert" userId="32c4521d-c8de-4752-af12-faa11a988016" providerId="ADAL" clId="{D20541EA-CDC6-4019-AD90-93A0189CAB9A}" dt="2019-04-03T13:27:16.235" v="59" actId="14100"/>
          <ac:grpSpMkLst>
            <pc:docMk/>
            <pc:sldMk cId="2906553694" sldId="915"/>
            <ac:grpSpMk id="11" creationId="{00000000-0000-0000-0000-000000000000}"/>
          </ac:grpSpMkLst>
        </pc:grpChg>
      </pc:sldChg>
      <pc:sldChg chg="modSp">
        <pc:chgData name="Michel Hebert" userId="32c4521d-c8de-4752-af12-faa11a988016" providerId="ADAL" clId="{D20541EA-CDC6-4019-AD90-93A0189CAB9A}" dt="2019-04-03T13:31:47.716" v="289" actId="20577"/>
        <pc:sldMkLst>
          <pc:docMk/>
          <pc:sldMk cId="3629407209" sldId="918"/>
        </pc:sldMkLst>
        <pc:spChg chg="mod">
          <ac:chgData name="Michel Hebert" userId="32c4521d-c8de-4752-af12-faa11a988016" providerId="ADAL" clId="{D20541EA-CDC6-4019-AD90-93A0189CAB9A}" dt="2019-04-03T13:31:47.716" v="289" actId="20577"/>
          <ac:spMkLst>
            <pc:docMk/>
            <pc:sldMk cId="3629407209" sldId="918"/>
            <ac:spMk id="14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4:55.085" v="8" actId="20577"/>
        <pc:sldMkLst>
          <pc:docMk/>
          <pc:sldMk cId="4079128440" sldId="920"/>
        </pc:sldMkLst>
        <pc:spChg chg="mod">
          <ac:chgData name="Michel Hebert" userId="32c4521d-c8de-4752-af12-faa11a988016" providerId="ADAL" clId="{D20541EA-CDC6-4019-AD90-93A0189CAB9A}" dt="2019-04-03T13:24:55.085" v="8" actId="20577"/>
          <ac:spMkLst>
            <pc:docMk/>
            <pc:sldMk cId="4079128440" sldId="920"/>
            <ac:spMk id="6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6:16.105" v="21" actId="313"/>
        <pc:sldMkLst>
          <pc:docMk/>
          <pc:sldMk cId="1410649051" sldId="923"/>
        </pc:sldMkLst>
        <pc:spChg chg="mod">
          <ac:chgData name="Michel Hebert" userId="32c4521d-c8de-4752-af12-faa11a988016" providerId="ADAL" clId="{D20541EA-CDC6-4019-AD90-93A0189CAB9A}" dt="2019-04-03T13:26:16.105" v="21" actId="313"/>
          <ac:spMkLst>
            <pc:docMk/>
            <pc:sldMk cId="1410649051" sldId="923"/>
            <ac:spMk id="45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5:48.598" v="18" actId="20577"/>
        <pc:sldMkLst>
          <pc:docMk/>
          <pc:sldMk cId="2068890978" sldId="950"/>
        </pc:sldMkLst>
        <pc:spChg chg="mod">
          <ac:chgData name="Michel Hebert" userId="32c4521d-c8de-4752-af12-faa11a988016" providerId="ADAL" clId="{D20541EA-CDC6-4019-AD90-93A0189CAB9A}" dt="2019-04-03T13:25:48.598" v="18" actId="20577"/>
          <ac:spMkLst>
            <pc:docMk/>
            <pc:sldMk cId="2068890978" sldId="950"/>
            <ac:spMk id="28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8:24.738" v="124" actId="20577"/>
        <pc:sldMkLst>
          <pc:docMk/>
          <pc:sldMk cId="924817670" sldId="955"/>
        </pc:sldMkLst>
        <pc:spChg chg="mod">
          <ac:chgData name="Michel Hebert" userId="32c4521d-c8de-4752-af12-faa11a988016" providerId="ADAL" clId="{D20541EA-CDC6-4019-AD90-93A0189CAB9A}" dt="2019-04-03T13:28:24.738" v="124" actId="20577"/>
          <ac:spMkLst>
            <pc:docMk/>
            <pc:sldMk cId="924817670" sldId="955"/>
            <ac:spMk id="32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8:44.411" v="154" actId="20577"/>
        <pc:sldMkLst>
          <pc:docMk/>
          <pc:sldMk cId="3102019246" sldId="963"/>
        </pc:sldMkLst>
        <pc:spChg chg="mod">
          <ac:chgData name="Michel Hebert" userId="32c4521d-c8de-4752-af12-faa11a988016" providerId="ADAL" clId="{D20541EA-CDC6-4019-AD90-93A0189CAB9A}" dt="2019-04-03T13:28:37.765" v="136" actId="20577"/>
          <ac:spMkLst>
            <pc:docMk/>
            <pc:sldMk cId="3102019246" sldId="963"/>
            <ac:spMk id="26" creationId="{00000000-0000-0000-0000-000000000000}"/>
          </ac:spMkLst>
        </pc:spChg>
        <pc:spChg chg="mod">
          <ac:chgData name="Michel Hebert" userId="32c4521d-c8de-4752-af12-faa11a988016" providerId="ADAL" clId="{D20541EA-CDC6-4019-AD90-93A0189CAB9A}" dt="2019-04-03T13:28:44.411" v="154" actId="20577"/>
          <ac:spMkLst>
            <pc:docMk/>
            <pc:sldMk cId="3102019246" sldId="963"/>
            <ac:spMk id="33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30:39.448" v="239" actId="1076"/>
        <pc:sldMkLst>
          <pc:docMk/>
          <pc:sldMk cId="255619056" sldId="975"/>
        </pc:sldMkLst>
        <pc:spChg chg="mod">
          <ac:chgData name="Michel Hebert" userId="32c4521d-c8de-4752-af12-faa11a988016" providerId="ADAL" clId="{D20541EA-CDC6-4019-AD90-93A0189CAB9A}" dt="2019-04-03T13:30:35.042" v="238" actId="14100"/>
          <ac:spMkLst>
            <pc:docMk/>
            <pc:sldMk cId="255619056" sldId="975"/>
            <ac:spMk id="24" creationId="{00000000-0000-0000-0000-000000000000}"/>
          </ac:spMkLst>
        </pc:spChg>
        <pc:grpChg chg="mod">
          <ac:chgData name="Michel Hebert" userId="32c4521d-c8de-4752-af12-faa11a988016" providerId="ADAL" clId="{D20541EA-CDC6-4019-AD90-93A0189CAB9A}" dt="2019-04-03T13:30:39.448" v="239" actId="1076"/>
          <ac:grpSpMkLst>
            <pc:docMk/>
            <pc:sldMk cId="255619056" sldId="975"/>
            <ac:grpSpMk id="22" creationId="{00000000-0000-0000-0000-000000000000}"/>
          </ac:grpSpMkLst>
        </pc:grpChg>
      </pc:sldChg>
      <pc:sldChg chg="modSp">
        <pc:chgData name="Michel Hebert" userId="32c4521d-c8de-4752-af12-faa11a988016" providerId="ADAL" clId="{D20541EA-CDC6-4019-AD90-93A0189CAB9A}" dt="2019-04-03T13:27:04.108" v="58" actId="20577"/>
        <pc:sldMkLst>
          <pc:docMk/>
          <pc:sldMk cId="2410307660" sldId="979"/>
        </pc:sldMkLst>
        <pc:spChg chg="mod">
          <ac:chgData name="Michel Hebert" userId="32c4521d-c8de-4752-af12-faa11a988016" providerId="ADAL" clId="{D20541EA-CDC6-4019-AD90-93A0189CAB9A}" dt="2019-04-03T13:27:04.108" v="58" actId="20577"/>
          <ac:spMkLst>
            <pc:docMk/>
            <pc:sldMk cId="2410307660" sldId="979"/>
            <ac:spMk id="27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31:10.291" v="268" actId="20577"/>
        <pc:sldMkLst>
          <pc:docMk/>
          <pc:sldMk cId="2405630774" sldId="984"/>
        </pc:sldMkLst>
        <pc:spChg chg="mod">
          <ac:chgData name="Michel Hebert" userId="32c4521d-c8de-4752-af12-faa11a988016" providerId="ADAL" clId="{D20541EA-CDC6-4019-AD90-93A0189CAB9A}" dt="2019-04-03T13:31:10.291" v="268" actId="20577"/>
          <ac:spMkLst>
            <pc:docMk/>
            <pc:sldMk cId="2405630774" sldId="984"/>
            <ac:spMk id="31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31:24.838" v="280" actId="14100"/>
        <pc:sldMkLst>
          <pc:docMk/>
          <pc:sldMk cId="1204799585" sldId="985"/>
        </pc:sldMkLst>
        <pc:spChg chg="mod">
          <ac:chgData name="Michel Hebert" userId="32c4521d-c8de-4752-af12-faa11a988016" providerId="ADAL" clId="{D20541EA-CDC6-4019-AD90-93A0189CAB9A}" dt="2019-04-03T13:31:24.838" v="280" actId="14100"/>
          <ac:spMkLst>
            <pc:docMk/>
            <pc:sldMk cId="1204799585" sldId="985"/>
            <ac:spMk id="32" creationId="{00000000-0000-0000-0000-000000000000}"/>
          </ac:spMkLst>
        </pc:spChg>
        <pc:grpChg chg="mod">
          <ac:chgData name="Michel Hebert" userId="32c4521d-c8de-4752-af12-faa11a988016" providerId="ADAL" clId="{D20541EA-CDC6-4019-AD90-93A0189CAB9A}" dt="2019-04-03T13:31:22.594" v="279" actId="14100"/>
          <ac:grpSpMkLst>
            <pc:docMk/>
            <pc:sldMk cId="1204799585" sldId="985"/>
            <ac:grpSpMk id="30" creationId="{00000000-0000-0000-0000-000000000000}"/>
          </ac:grpSpMkLst>
        </pc:grpChg>
      </pc:sldChg>
      <pc:sldChg chg="modSp">
        <pc:chgData name="Michel Hebert" userId="32c4521d-c8de-4752-af12-faa11a988016" providerId="ADAL" clId="{D20541EA-CDC6-4019-AD90-93A0189CAB9A}" dt="2019-04-03T15:16:18.904" v="419" actId="20577"/>
        <pc:sldMkLst>
          <pc:docMk/>
          <pc:sldMk cId="3335752528" sldId="991"/>
        </pc:sldMkLst>
        <pc:graphicFrameChg chg="modGraphic">
          <ac:chgData name="Michel Hebert" userId="32c4521d-c8de-4752-af12-faa11a988016" providerId="ADAL" clId="{D20541EA-CDC6-4019-AD90-93A0189CAB9A}" dt="2019-04-03T15:16:18.904" v="419" actId="20577"/>
          <ac:graphicFrameMkLst>
            <pc:docMk/>
            <pc:sldMk cId="3335752528" sldId="991"/>
            <ac:graphicFrameMk id="23" creationId="{00000000-0000-0000-0000-000000000000}"/>
          </ac:graphicFrameMkLst>
        </pc:graphicFrameChg>
      </pc:sldChg>
      <pc:sldChg chg="modSp">
        <pc:chgData name="Michel Hebert" userId="32c4521d-c8de-4752-af12-faa11a988016" providerId="ADAL" clId="{D20541EA-CDC6-4019-AD90-93A0189CAB9A}" dt="2019-04-03T13:29:04.528" v="176" actId="20577"/>
        <pc:sldMkLst>
          <pc:docMk/>
          <pc:sldMk cId="4014688528" sldId="992"/>
        </pc:sldMkLst>
        <pc:spChg chg="mod">
          <ac:chgData name="Michel Hebert" userId="32c4521d-c8de-4752-af12-faa11a988016" providerId="ADAL" clId="{D20541EA-CDC6-4019-AD90-93A0189CAB9A}" dt="2019-04-03T13:28:58.127" v="166" actId="20577"/>
          <ac:spMkLst>
            <pc:docMk/>
            <pc:sldMk cId="4014688528" sldId="992"/>
            <ac:spMk id="26" creationId="{00000000-0000-0000-0000-000000000000}"/>
          </ac:spMkLst>
        </pc:spChg>
        <pc:spChg chg="mod">
          <ac:chgData name="Michel Hebert" userId="32c4521d-c8de-4752-af12-faa11a988016" providerId="ADAL" clId="{D20541EA-CDC6-4019-AD90-93A0189CAB9A}" dt="2019-04-03T13:29:04.528" v="176" actId="20577"/>
          <ac:spMkLst>
            <pc:docMk/>
            <pc:sldMk cId="4014688528" sldId="992"/>
            <ac:spMk id="33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9:21.375" v="196" actId="20577"/>
        <pc:sldMkLst>
          <pc:docMk/>
          <pc:sldMk cId="1266025529" sldId="995"/>
        </pc:sldMkLst>
        <pc:spChg chg="mod">
          <ac:chgData name="Michel Hebert" userId="32c4521d-c8de-4752-af12-faa11a988016" providerId="ADAL" clId="{D20541EA-CDC6-4019-AD90-93A0189CAB9A}" dt="2019-04-03T13:29:16.252" v="186" actId="20577"/>
          <ac:spMkLst>
            <pc:docMk/>
            <pc:sldMk cId="1266025529" sldId="995"/>
            <ac:spMk id="26" creationId="{00000000-0000-0000-0000-000000000000}"/>
          </ac:spMkLst>
        </pc:spChg>
        <pc:spChg chg="mod">
          <ac:chgData name="Michel Hebert" userId="32c4521d-c8de-4752-af12-faa11a988016" providerId="ADAL" clId="{D20541EA-CDC6-4019-AD90-93A0189CAB9A}" dt="2019-04-03T13:29:21.375" v="196" actId="20577"/>
          <ac:spMkLst>
            <pc:docMk/>
            <pc:sldMk cId="1266025529" sldId="995"/>
            <ac:spMk id="33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5:27:57.987" v="594" actId="20577"/>
        <pc:sldMkLst>
          <pc:docMk/>
          <pc:sldMk cId="3324763348" sldId="1010"/>
        </pc:sldMkLst>
        <pc:spChg chg="mod">
          <ac:chgData name="Michel Hebert" userId="32c4521d-c8de-4752-af12-faa11a988016" providerId="ADAL" clId="{D20541EA-CDC6-4019-AD90-93A0189CAB9A}" dt="2019-04-03T15:27:57.987" v="594" actId="20577"/>
          <ac:spMkLst>
            <pc:docMk/>
            <pc:sldMk cId="3324763348" sldId="1010"/>
            <ac:spMk id="2" creationId="{00000000-0000-0000-0000-000000000000}"/>
          </ac:spMkLst>
        </pc:spChg>
        <pc:spChg chg="mod">
          <ac:chgData name="Michel Hebert" userId="32c4521d-c8de-4752-af12-faa11a988016" providerId="ADAL" clId="{D20541EA-CDC6-4019-AD90-93A0189CAB9A}" dt="2019-04-03T15:27:40.556" v="557" actId="115"/>
          <ac:spMkLst>
            <pc:docMk/>
            <pc:sldMk cId="3324763348" sldId="1010"/>
            <ac:spMk id="9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30:58.820" v="255" actId="20577"/>
        <pc:sldMkLst>
          <pc:docMk/>
          <pc:sldMk cId="283929464" sldId="1016"/>
        </pc:sldMkLst>
        <pc:spChg chg="mod">
          <ac:chgData name="Michel Hebert" userId="32c4521d-c8de-4752-af12-faa11a988016" providerId="ADAL" clId="{D20541EA-CDC6-4019-AD90-93A0189CAB9A}" dt="2019-04-03T13:30:58.820" v="255" actId="20577"/>
          <ac:spMkLst>
            <pc:docMk/>
            <pc:sldMk cId="283929464" sldId="1016"/>
            <ac:spMk id="13" creationId="{00000000-0000-0000-0000-000000000000}"/>
          </ac:spMkLst>
        </pc:spChg>
      </pc:sldChg>
      <pc:sldChg chg="modSp">
        <pc:chgData name="Michel Hebert" userId="32c4521d-c8de-4752-af12-faa11a988016" providerId="ADAL" clId="{D20541EA-CDC6-4019-AD90-93A0189CAB9A}" dt="2019-04-03T13:28:12.352" v="114" actId="20577"/>
        <pc:sldMkLst>
          <pc:docMk/>
          <pc:sldMk cId="2268707609" sldId="1021"/>
        </pc:sldMkLst>
        <pc:graphicFrameChg chg="modGraphic">
          <ac:chgData name="Michel Hebert" userId="32c4521d-c8de-4752-af12-faa11a988016" providerId="ADAL" clId="{D20541EA-CDC6-4019-AD90-93A0189CAB9A}" dt="2019-04-03T13:28:12.352" v="114" actId="20577"/>
          <ac:graphicFrameMkLst>
            <pc:docMk/>
            <pc:sldMk cId="2268707609" sldId="1021"/>
            <ac:graphicFrameMk id="14" creationId="{00000000-0000-0000-0000-000000000000}"/>
          </ac:graphicFrameMkLst>
        </pc:graphicFrameChg>
      </pc:sldChg>
      <pc:sldChg chg="addSp modSp">
        <pc:chgData name="Michel Hebert" userId="32c4521d-c8de-4752-af12-faa11a988016" providerId="ADAL" clId="{D20541EA-CDC6-4019-AD90-93A0189CAB9A}" dt="2019-04-03T15:28:39.122" v="628" actId="20577"/>
        <pc:sldMkLst>
          <pc:docMk/>
          <pc:sldMk cId="1138177309" sldId="1023"/>
        </pc:sldMkLst>
        <pc:graphicFrameChg chg="modGraphic">
          <ac:chgData name="Michel Hebert" userId="32c4521d-c8de-4752-af12-faa11a988016" providerId="ADAL" clId="{D20541EA-CDC6-4019-AD90-93A0189CAB9A}" dt="2019-04-03T15:28:39.122" v="628" actId="20577"/>
          <ac:graphicFrameMkLst>
            <pc:docMk/>
            <pc:sldMk cId="1138177309" sldId="1023"/>
            <ac:graphicFrameMk id="14" creationId="{00000000-0000-0000-0000-000000000000}"/>
          </ac:graphicFrameMkLst>
        </pc:graphicFrameChg>
        <pc:picChg chg="add mod">
          <ac:chgData name="Michel Hebert" userId="32c4521d-c8de-4752-af12-faa11a988016" providerId="ADAL" clId="{D20541EA-CDC6-4019-AD90-93A0189CAB9A}" dt="2019-04-03T15:17:09.786" v="488" actId="1076"/>
          <ac:picMkLst>
            <pc:docMk/>
            <pc:sldMk cId="1138177309" sldId="1023"/>
            <ac:picMk id="16" creationId="{37FB845D-83D3-43BA-9691-A7D4819585C3}"/>
          </ac:picMkLst>
        </pc:picChg>
        <pc:picChg chg="add mod">
          <ac:chgData name="Michel Hebert" userId="32c4521d-c8de-4752-af12-faa11a988016" providerId="ADAL" clId="{D20541EA-CDC6-4019-AD90-93A0189CAB9A}" dt="2019-04-03T15:17:17.498" v="490" actId="1076"/>
          <ac:picMkLst>
            <pc:docMk/>
            <pc:sldMk cId="1138177309" sldId="1023"/>
            <ac:picMk id="17" creationId="{65159BAC-0365-415D-ABEA-F3989F1DC46E}"/>
          </ac:picMkLst>
        </pc:picChg>
      </pc:sldChg>
      <pc:sldChg chg="modSp">
        <pc:chgData name="Michel Hebert" userId="32c4521d-c8de-4752-af12-faa11a988016" providerId="ADAL" clId="{D20541EA-CDC6-4019-AD90-93A0189CAB9A}" dt="2019-04-04T19:30:52.827" v="805" actId="1076"/>
        <pc:sldMkLst>
          <pc:docMk/>
          <pc:sldMk cId="2025931845" sldId="1026"/>
        </pc:sldMkLst>
        <pc:graphicFrameChg chg="mod modGraphic">
          <ac:chgData name="Michel Hebert" userId="32c4521d-c8de-4752-af12-faa11a988016" providerId="ADAL" clId="{D20541EA-CDC6-4019-AD90-93A0189CAB9A}" dt="2019-04-04T19:30:52.827" v="805" actId="1076"/>
          <ac:graphicFrameMkLst>
            <pc:docMk/>
            <pc:sldMk cId="2025931845" sldId="1026"/>
            <ac:graphicFrameMk id="4" creationId="{00000000-0000-0000-0000-000000000000}"/>
          </ac:graphicFrameMkLst>
        </pc:graphicFrameChg>
      </pc:sldChg>
      <pc:sldChg chg="modSp">
        <pc:chgData name="Michel Hebert" userId="32c4521d-c8de-4752-af12-faa11a988016" providerId="ADAL" clId="{D20541EA-CDC6-4019-AD90-93A0189CAB9A}" dt="2019-04-03T13:26:35.031" v="47" actId="20577"/>
        <pc:sldMkLst>
          <pc:docMk/>
          <pc:sldMk cId="222627878" sldId="1027"/>
        </pc:sldMkLst>
        <pc:graphicFrameChg chg="modGraphic">
          <ac:chgData name="Michel Hebert" userId="32c4521d-c8de-4752-af12-faa11a988016" providerId="ADAL" clId="{D20541EA-CDC6-4019-AD90-93A0189CAB9A}" dt="2019-04-03T13:26:35.031" v="47" actId="20577"/>
          <ac:graphicFrameMkLst>
            <pc:docMk/>
            <pc:sldMk cId="222627878" sldId="1027"/>
            <ac:graphicFrameMk id="14" creationId="{00000000-0000-0000-0000-000000000000}"/>
          </ac:graphicFrameMkLst>
        </pc:graphicFrameChg>
      </pc:sldChg>
      <pc:sldChg chg="modSp">
        <pc:chgData name="Michel Hebert" userId="32c4521d-c8de-4752-af12-faa11a988016" providerId="ADAL" clId="{D20541EA-CDC6-4019-AD90-93A0189CAB9A}" dt="2019-04-03T15:18:25.553" v="524" actId="6549"/>
        <pc:sldMkLst>
          <pc:docMk/>
          <pc:sldMk cId="1931346677" sldId="1033"/>
        </pc:sldMkLst>
        <pc:spChg chg="mod">
          <ac:chgData name="Michel Hebert" userId="32c4521d-c8de-4752-af12-faa11a988016" providerId="ADAL" clId="{D20541EA-CDC6-4019-AD90-93A0189CAB9A}" dt="2019-04-03T15:18:25.553" v="524" actId="6549"/>
          <ac:spMkLst>
            <pc:docMk/>
            <pc:sldMk cId="1931346677" sldId="1033"/>
            <ac:spMk id="4" creationId="{00000000-0000-0000-0000-000000000000}"/>
          </ac:spMkLst>
        </pc:spChg>
      </pc:sldChg>
    </pc:docChg>
  </pc:docChgLst>
  <pc:docChgLst>
    <pc:chgData name="Ken Weston" userId="3ca23dd8-1206-407b-8755-feedc0837c5e" providerId="ADAL" clId="{FC0C5BA3-E221-4C65-9E92-CF2360E2FB9E}"/>
    <pc:docChg chg="addSld modSld">
      <pc:chgData name="Ken Weston" userId="3ca23dd8-1206-407b-8755-feedc0837c5e" providerId="ADAL" clId="{FC0C5BA3-E221-4C65-9E92-CF2360E2FB9E}" dt="2019-06-03T19:04:33.832" v="5" actId="165"/>
      <pc:docMkLst>
        <pc:docMk/>
      </pc:docMkLst>
      <pc:sldChg chg="addSp delSp modSp add">
        <pc:chgData name="Ken Weston" userId="3ca23dd8-1206-407b-8755-feedc0837c5e" providerId="ADAL" clId="{FC0C5BA3-E221-4C65-9E92-CF2360E2FB9E}" dt="2019-06-03T19:04:33.832" v="5" actId="165"/>
        <pc:sldMkLst>
          <pc:docMk/>
          <pc:sldMk cId="1888397919" sldId="1045"/>
        </pc:sldMkLst>
        <pc:spChg chg="mod topLvl">
          <ac:chgData name="Ken Weston" userId="3ca23dd8-1206-407b-8755-feedc0837c5e" providerId="ADAL" clId="{FC0C5BA3-E221-4C65-9E92-CF2360E2FB9E}" dt="2019-06-03T19:04:17.471" v="2" actId="165"/>
          <ac:spMkLst>
            <pc:docMk/>
            <pc:sldMk cId="1888397919" sldId="1045"/>
            <ac:spMk id="6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17.471" v="2" actId="165"/>
          <ac:spMkLst>
            <pc:docMk/>
            <pc:sldMk cId="1888397919" sldId="1045"/>
            <ac:spMk id="8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33.832" v="5" actId="165"/>
          <ac:spMkLst>
            <pc:docMk/>
            <pc:sldMk cId="1888397919" sldId="1045"/>
            <ac:spMk id="12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17.471" v="2" actId="165"/>
          <ac:spMkLst>
            <pc:docMk/>
            <pc:sldMk cId="1888397919" sldId="1045"/>
            <ac:spMk id="13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33.832" v="5" actId="165"/>
          <ac:spMkLst>
            <pc:docMk/>
            <pc:sldMk cId="1888397919" sldId="1045"/>
            <ac:spMk id="16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17.471" v="2" actId="165"/>
          <ac:spMkLst>
            <pc:docMk/>
            <pc:sldMk cId="1888397919" sldId="1045"/>
            <ac:spMk id="18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17.471" v="2" actId="165"/>
          <ac:spMkLst>
            <pc:docMk/>
            <pc:sldMk cId="1888397919" sldId="1045"/>
            <ac:spMk id="20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17.471" v="2" actId="165"/>
          <ac:spMkLst>
            <pc:docMk/>
            <pc:sldMk cId="1888397919" sldId="1045"/>
            <ac:spMk id="21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33.832" v="5" actId="165"/>
          <ac:spMkLst>
            <pc:docMk/>
            <pc:sldMk cId="1888397919" sldId="1045"/>
            <ac:spMk id="35" creationId="{00000000-0000-0000-0000-000000000000}"/>
          </ac:spMkLst>
        </pc:spChg>
        <pc:spChg chg="mod topLvl">
          <ac:chgData name="Ken Weston" userId="3ca23dd8-1206-407b-8755-feedc0837c5e" providerId="ADAL" clId="{FC0C5BA3-E221-4C65-9E92-CF2360E2FB9E}" dt="2019-06-03T19:04:33.832" v="5" actId="165"/>
          <ac:spMkLst>
            <pc:docMk/>
            <pc:sldMk cId="1888397919" sldId="1045"/>
            <ac:spMk id="36" creationId="{00000000-0000-0000-0000-000000000000}"/>
          </ac:spMkLst>
        </pc:spChg>
        <pc:grpChg chg="add del mod">
          <ac:chgData name="Ken Weston" userId="3ca23dd8-1206-407b-8755-feedc0837c5e" providerId="ADAL" clId="{FC0C5BA3-E221-4C65-9E92-CF2360E2FB9E}" dt="2019-06-03T19:04:33.832" v="5" actId="165"/>
          <ac:grpSpMkLst>
            <pc:docMk/>
            <pc:sldMk cId="1888397919" sldId="1045"/>
            <ac:grpSpMk id="3" creationId="{1DB31339-CA80-4185-9E06-D652ACC2277B}"/>
          </ac:grpSpMkLst>
        </pc:grpChg>
        <pc:grpChg chg="add del mod">
          <ac:chgData name="Ken Weston" userId="3ca23dd8-1206-407b-8755-feedc0837c5e" providerId="ADAL" clId="{FC0C5BA3-E221-4C65-9E92-CF2360E2FB9E}" dt="2019-06-03T19:04:33.832" v="5" actId="165"/>
          <ac:grpSpMkLst>
            <pc:docMk/>
            <pc:sldMk cId="1888397919" sldId="1045"/>
            <ac:grpSpMk id="4" creationId="{D78AD3BF-0B58-49D5-AF06-903375D76326}"/>
          </ac:grpSpMkLst>
        </pc:grpChg>
        <pc:grpChg chg="del mod topLvl">
          <ac:chgData name="Ken Weston" userId="3ca23dd8-1206-407b-8755-feedc0837c5e" providerId="ADAL" clId="{FC0C5BA3-E221-4C65-9E92-CF2360E2FB9E}" dt="2019-06-03T19:04:17.471" v="2" actId="165"/>
          <ac:grpSpMkLst>
            <pc:docMk/>
            <pc:sldMk cId="1888397919" sldId="1045"/>
            <ac:grpSpMk id="31" creationId="{00000000-0000-0000-0000-000000000000}"/>
          </ac:grpSpMkLst>
        </pc:grpChg>
        <pc:grpChg chg="del">
          <ac:chgData name="Ken Weston" userId="3ca23dd8-1206-407b-8755-feedc0837c5e" providerId="ADAL" clId="{FC0C5BA3-E221-4C65-9E92-CF2360E2FB9E}" dt="2019-06-03T19:04:17.280" v="1" actId="165"/>
          <ac:grpSpMkLst>
            <pc:docMk/>
            <pc:sldMk cId="1888397919" sldId="1045"/>
            <ac:grpSpMk id="32" creationId="{00000000-0000-0000-0000-000000000000}"/>
          </ac:grpSpMkLst>
        </pc:grpChg>
        <pc:picChg chg="mod topLvl">
          <ac:chgData name="Ken Weston" userId="3ca23dd8-1206-407b-8755-feedc0837c5e" providerId="ADAL" clId="{FC0C5BA3-E221-4C65-9E92-CF2360E2FB9E}" dt="2019-06-03T19:04:17.471" v="2" actId="165"/>
          <ac:picMkLst>
            <pc:docMk/>
            <pc:sldMk cId="1888397919" sldId="1045"/>
            <ac:picMk id="7" creationId="{00000000-0000-0000-0000-000000000000}"/>
          </ac:picMkLst>
        </pc:picChg>
        <pc:picChg chg="mod topLvl">
          <ac:chgData name="Ken Weston" userId="3ca23dd8-1206-407b-8755-feedc0837c5e" providerId="ADAL" clId="{FC0C5BA3-E221-4C65-9E92-CF2360E2FB9E}" dt="2019-06-03T19:04:33.832" v="5" actId="165"/>
          <ac:picMkLst>
            <pc:docMk/>
            <pc:sldMk cId="1888397919" sldId="1045"/>
            <ac:picMk id="11" creationId="{00000000-0000-0000-0000-000000000000}"/>
          </ac:picMkLst>
        </pc:picChg>
        <pc:picChg chg="mod topLvl">
          <ac:chgData name="Ken Weston" userId="3ca23dd8-1206-407b-8755-feedc0837c5e" providerId="ADAL" clId="{FC0C5BA3-E221-4C65-9E92-CF2360E2FB9E}" dt="2019-06-03T19:04:17.471" v="2" actId="165"/>
          <ac:picMkLst>
            <pc:docMk/>
            <pc:sldMk cId="1888397919" sldId="1045"/>
            <ac:picMk id="14" creationId="{00000000-0000-0000-0000-000000000000}"/>
          </ac:picMkLst>
        </pc:picChg>
        <pc:picChg chg="mod topLvl">
          <ac:chgData name="Ken Weston" userId="3ca23dd8-1206-407b-8755-feedc0837c5e" providerId="ADAL" clId="{FC0C5BA3-E221-4C65-9E92-CF2360E2FB9E}" dt="2019-06-03T19:04:33.832" v="5" actId="165"/>
          <ac:picMkLst>
            <pc:docMk/>
            <pc:sldMk cId="1888397919" sldId="1045"/>
            <ac:picMk id="15" creationId="{00000000-0000-0000-0000-000000000000}"/>
          </ac:picMkLst>
        </pc:picChg>
        <pc:picChg chg="mod topLvl">
          <ac:chgData name="Ken Weston" userId="3ca23dd8-1206-407b-8755-feedc0837c5e" providerId="ADAL" clId="{FC0C5BA3-E221-4C65-9E92-CF2360E2FB9E}" dt="2019-06-03T19:04:17.471" v="2" actId="165"/>
          <ac:picMkLst>
            <pc:docMk/>
            <pc:sldMk cId="1888397919" sldId="1045"/>
            <ac:picMk id="17" creationId="{00000000-0000-0000-0000-000000000000}"/>
          </ac:picMkLst>
        </pc:picChg>
        <pc:picChg chg="mod topLvl">
          <ac:chgData name="Ken Weston" userId="3ca23dd8-1206-407b-8755-feedc0837c5e" providerId="ADAL" clId="{FC0C5BA3-E221-4C65-9E92-CF2360E2FB9E}" dt="2019-06-03T19:04:17.471" v="2" actId="165"/>
          <ac:picMkLst>
            <pc:docMk/>
            <pc:sldMk cId="1888397919" sldId="1045"/>
            <ac:picMk id="19" creationId="{00000000-0000-0000-0000-000000000000}"/>
          </ac:picMkLst>
        </pc:picChg>
        <pc:picChg chg="mod topLvl">
          <ac:chgData name="Ken Weston" userId="3ca23dd8-1206-407b-8755-feedc0837c5e" providerId="ADAL" clId="{FC0C5BA3-E221-4C65-9E92-CF2360E2FB9E}" dt="2019-06-03T19:04:17.471" v="2" actId="165"/>
          <ac:picMkLst>
            <pc:docMk/>
            <pc:sldMk cId="1888397919" sldId="1045"/>
            <ac:picMk id="22" creationId="{00000000-0000-0000-0000-000000000000}"/>
          </ac:picMkLst>
        </pc:picChg>
        <pc:picChg chg="mod topLvl">
          <ac:chgData name="Ken Weston" userId="3ca23dd8-1206-407b-8755-feedc0837c5e" providerId="ADAL" clId="{FC0C5BA3-E221-4C65-9E92-CF2360E2FB9E}" dt="2019-06-03T19:04:17.471" v="2" actId="165"/>
          <ac:picMkLst>
            <pc:docMk/>
            <pc:sldMk cId="1888397919" sldId="1045"/>
            <ac:picMk id="30" creationId="{00000000-0000-0000-0000-000000000000}"/>
          </ac:picMkLst>
        </pc:picChg>
      </pc:sldChg>
    </pc:docChg>
  </pc:docChgLst>
  <pc:docChgLst>
    <pc:chgData name="Michel Hebert" userId="32c4521d-c8de-4752-af12-faa11a988016" providerId="ADAL" clId="{1654985E-1CC8-49B8-A5E1-124634667411}"/>
    <pc:docChg chg="undo custSel modSld">
      <pc:chgData name="Michel Hebert" userId="32c4521d-c8de-4752-af12-faa11a988016" providerId="ADAL" clId="{1654985E-1CC8-49B8-A5E1-124634667411}" dt="2019-06-04T13:48:00.349" v="78" actId="1589"/>
      <pc:docMkLst>
        <pc:docMk/>
      </pc:docMkLst>
      <pc:sldChg chg="addCm">
        <pc:chgData name="Michel Hebert" userId="32c4521d-c8de-4752-af12-faa11a988016" providerId="ADAL" clId="{1654985E-1CC8-49B8-A5E1-124634667411}" dt="2019-05-30T20:08:26.828" v="1" actId="1589"/>
        <pc:sldMkLst>
          <pc:docMk/>
          <pc:sldMk cId="2972842409" sldId="817"/>
        </pc:sldMkLst>
      </pc:sldChg>
      <pc:sldChg chg="addCm">
        <pc:chgData name="Michel Hebert" userId="32c4521d-c8de-4752-af12-faa11a988016" providerId="ADAL" clId="{1654985E-1CC8-49B8-A5E1-124634667411}" dt="2019-05-30T20:08:00.091" v="0" actId="1589"/>
        <pc:sldMkLst>
          <pc:docMk/>
          <pc:sldMk cId="1815949425" sldId="820"/>
        </pc:sldMkLst>
      </pc:sldChg>
      <pc:sldChg chg="modSp addCm">
        <pc:chgData name="Michel Hebert" userId="32c4521d-c8de-4752-af12-faa11a988016" providerId="ADAL" clId="{1654985E-1CC8-49B8-A5E1-124634667411}" dt="2019-05-30T20:24:17.683" v="35" actId="20577"/>
        <pc:sldMkLst>
          <pc:docMk/>
          <pc:sldMk cId="4079128440" sldId="920"/>
        </pc:sldMkLst>
        <pc:spChg chg="mod">
          <ac:chgData name="Michel Hebert" userId="32c4521d-c8de-4752-af12-faa11a988016" providerId="ADAL" clId="{1654985E-1CC8-49B8-A5E1-124634667411}" dt="2019-05-30T20:24:17.683" v="35" actId="20577"/>
          <ac:spMkLst>
            <pc:docMk/>
            <pc:sldMk cId="4079128440" sldId="920"/>
            <ac:spMk id="6" creationId="{00000000-0000-0000-0000-000000000000}"/>
          </ac:spMkLst>
        </pc:spChg>
      </pc:sldChg>
      <pc:sldChg chg="addCm">
        <pc:chgData name="Michel Hebert" userId="32c4521d-c8de-4752-af12-faa11a988016" providerId="ADAL" clId="{1654985E-1CC8-49B8-A5E1-124634667411}" dt="2019-05-30T20:10:27.117" v="3" actId="1589"/>
        <pc:sldMkLst>
          <pc:docMk/>
          <pc:sldMk cId="1719909583" sldId="925"/>
        </pc:sldMkLst>
      </pc:sldChg>
      <pc:sldChg chg="addCm">
        <pc:chgData name="Michel Hebert" userId="32c4521d-c8de-4752-af12-faa11a988016" providerId="ADAL" clId="{1654985E-1CC8-49B8-A5E1-124634667411}" dt="2019-05-30T20:09:15.754" v="2" actId="1589"/>
        <pc:sldMkLst>
          <pc:docMk/>
          <pc:sldMk cId="747528665" sldId="938"/>
        </pc:sldMkLst>
      </pc:sldChg>
      <pc:sldChg chg="addCm">
        <pc:chgData name="Michel Hebert" userId="32c4521d-c8de-4752-af12-faa11a988016" providerId="ADAL" clId="{1654985E-1CC8-49B8-A5E1-124634667411}" dt="2019-05-30T20:11:11.650" v="4" actId="1589"/>
        <pc:sldMkLst>
          <pc:docMk/>
          <pc:sldMk cId="2410307660" sldId="979"/>
        </pc:sldMkLst>
      </pc:sldChg>
      <pc:sldChg chg="modSp addCm">
        <pc:chgData name="Michel Hebert" userId="32c4521d-c8de-4752-af12-faa11a988016" providerId="ADAL" clId="{1654985E-1CC8-49B8-A5E1-124634667411}" dt="2019-05-30T20:12:02.240" v="18" actId="1589"/>
        <pc:sldMkLst>
          <pc:docMk/>
          <pc:sldMk cId="4246567998" sldId="986"/>
        </pc:sldMkLst>
        <pc:spChg chg="mod">
          <ac:chgData name="Michel Hebert" userId="32c4521d-c8de-4752-af12-faa11a988016" providerId="ADAL" clId="{1654985E-1CC8-49B8-A5E1-124634667411}" dt="2019-05-30T20:11:52.151" v="17" actId="20577"/>
          <ac:spMkLst>
            <pc:docMk/>
            <pc:sldMk cId="4246567998" sldId="986"/>
            <ac:spMk id="2" creationId="{00000000-0000-0000-0000-000000000000}"/>
          </ac:spMkLst>
        </pc:spChg>
      </pc:sldChg>
      <pc:sldChg chg="addSp delSp modSp addCm">
        <pc:chgData name="Michel Hebert" userId="32c4521d-c8de-4752-af12-faa11a988016" providerId="ADAL" clId="{1654985E-1CC8-49B8-A5E1-124634667411}" dt="2019-06-04T13:48:00.349" v="78" actId="1589"/>
        <pc:sldMkLst>
          <pc:docMk/>
          <pc:sldMk cId="3324763348" sldId="1010"/>
        </pc:sldMkLst>
        <pc:spChg chg="mod">
          <ac:chgData name="Michel Hebert" userId="32c4521d-c8de-4752-af12-faa11a988016" providerId="ADAL" clId="{1654985E-1CC8-49B8-A5E1-124634667411}" dt="2019-06-04T13:47:15.075" v="73" actId="20577"/>
          <ac:spMkLst>
            <pc:docMk/>
            <pc:sldMk cId="3324763348" sldId="1010"/>
            <ac:spMk id="5" creationId="{00000000-0000-0000-0000-000000000000}"/>
          </ac:spMkLst>
        </pc:spChg>
        <pc:spChg chg="del topLvl">
          <ac:chgData name="Michel Hebert" userId="32c4521d-c8de-4752-af12-faa11a988016" providerId="ADAL" clId="{1654985E-1CC8-49B8-A5E1-124634667411}" dt="2019-06-04T13:43:08.078" v="37" actId="478"/>
          <ac:spMkLst>
            <pc:docMk/>
            <pc:sldMk cId="3324763348" sldId="1010"/>
            <ac:spMk id="8" creationId="{00000000-0000-0000-0000-000000000000}"/>
          </ac:spMkLst>
        </pc:spChg>
        <pc:spChg chg="mod topLvl">
          <ac:chgData name="Michel Hebert" userId="32c4521d-c8de-4752-af12-faa11a988016" providerId="ADAL" clId="{1654985E-1CC8-49B8-A5E1-124634667411}" dt="2019-06-04T13:47:44.550" v="77" actId="20577"/>
          <ac:spMkLst>
            <pc:docMk/>
            <pc:sldMk cId="3324763348" sldId="1010"/>
            <ac:spMk id="9" creationId="{00000000-0000-0000-0000-000000000000}"/>
          </ac:spMkLst>
        </pc:spChg>
        <pc:grpChg chg="del">
          <ac:chgData name="Michel Hebert" userId="32c4521d-c8de-4752-af12-faa11a988016" providerId="ADAL" clId="{1654985E-1CC8-49B8-A5E1-124634667411}" dt="2019-06-04T13:43:08.078" v="37" actId="478"/>
          <ac:grpSpMkLst>
            <pc:docMk/>
            <pc:sldMk cId="3324763348" sldId="1010"/>
            <ac:grpSpMk id="6" creationId="{00000000-0000-0000-0000-000000000000}"/>
          </ac:grpSpMkLst>
        </pc:grpChg>
        <pc:picChg chg="add mod">
          <ac:chgData name="Michel Hebert" userId="32c4521d-c8de-4752-af12-faa11a988016" providerId="ADAL" clId="{1654985E-1CC8-49B8-A5E1-124634667411}" dt="2019-06-04T13:44:27.232" v="48" actId="14100"/>
          <ac:picMkLst>
            <pc:docMk/>
            <pc:sldMk cId="3324763348" sldId="1010"/>
            <ac:picMk id="31" creationId="{BC551118-69A1-40EB-B1B2-ACD7CB2DC1ED}"/>
          </ac:picMkLst>
        </pc:picChg>
        <pc:picChg chg="add mod">
          <ac:chgData name="Michel Hebert" userId="32c4521d-c8de-4752-af12-faa11a988016" providerId="ADAL" clId="{1654985E-1CC8-49B8-A5E1-124634667411}" dt="2019-06-04T13:45:27.980" v="59" actId="14100"/>
          <ac:picMkLst>
            <pc:docMk/>
            <pc:sldMk cId="3324763348" sldId="1010"/>
            <ac:picMk id="32" creationId="{A13C76B3-5887-4558-86B5-F54449418928}"/>
          </ac:picMkLst>
        </pc:picChg>
        <pc:picChg chg="add mod">
          <ac:chgData name="Michel Hebert" userId="32c4521d-c8de-4752-af12-faa11a988016" providerId="ADAL" clId="{1654985E-1CC8-49B8-A5E1-124634667411}" dt="2019-06-04T13:45:33.132" v="60" actId="1076"/>
          <ac:picMkLst>
            <pc:docMk/>
            <pc:sldMk cId="3324763348" sldId="1010"/>
            <ac:picMk id="33" creationId="{A2667802-4DE8-403A-A3C8-D7B4382FDD6D}"/>
          </ac:picMkLst>
        </pc:picChg>
        <pc:picChg chg="add mod">
          <ac:chgData name="Michel Hebert" userId="32c4521d-c8de-4752-af12-faa11a988016" providerId="ADAL" clId="{1654985E-1CC8-49B8-A5E1-124634667411}" dt="2019-06-04T13:45:36.252" v="61" actId="14100"/>
          <ac:picMkLst>
            <pc:docMk/>
            <pc:sldMk cId="3324763348" sldId="1010"/>
            <ac:picMk id="34" creationId="{7E13D32A-91E7-42A7-A95E-B73119A6775F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84C5B61-880F-4C4D-B59E-0A7EE305C81F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D252F16E-046E-48F1-9D83-74959DC9409E}">
      <dgm:prSet phldrT="[Text]" custT="1"/>
      <dgm:spPr/>
      <dgm:t>
        <a:bodyPr/>
        <a:lstStyle/>
        <a:p>
          <a:r>
            <a:rPr lang="en-US" sz="1400" dirty="0"/>
            <a:t>Competitive advantage</a:t>
          </a:r>
          <a:endParaRPr lang="en-CA" sz="1400" dirty="0"/>
        </a:p>
      </dgm:t>
    </dgm:pt>
    <dgm:pt modelId="{95CAB5FF-1CA5-4EE5-A0E2-0E75ADC2D915}" type="parTrans" cxnId="{34EA24D1-36A5-46BE-9FD4-A388CD9E239C}">
      <dgm:prSet/>
      <dgm:spPr/>
      <dgm:t>
        <a:bodyPr/>
        <a:lstStyle/>
        <a:p>
          <a:endParaRPr lang="en-CA" sz="1100"/>
        </a:p>
      </dgm:t>
    </dgm:pt>
    <dgm:pt modelId="{8FCD9805-27D5-4D91-8B5C-124506DC4172}" type="sibTrans" cxnId="{34EA24D1-36A5-46BE-9FD4-A388CD9E239C}">
      <dgm:prSet/>
      <dgm:spPr/>
      <dgm:t>
        <a:bodyPr/>
        <a:lstStyle/>
        <a:p>
          <a:endParaRPr lang="en-CA" sz="1100"/>
        </a:p>
      </dgm:t>
    </dgm:pt>
    <dgm:pt modelId="{AEEAF0C7-4A33-4184-9ECA-77897B64AADE}">
      <dgm:prSet phldrT="[Text]" custT="1"/>
      <dgm:spPr/>
      <dgm:t>
        <a:bodyPr/>
        <a:lstStyle/>
        <a:p>
          <a:r>
            <a:rPr lang="en-US" sz="1400" dirty="0"/>
            <a:t>Process v. content</a:t>
          </a:r>
          <a:endParaRPr lang="en-CA" sz="1400" dirty="0"/>
        </a:p>
      </dgm:t>
    </dgm:pt>
    <dgm:pt modelId="{F0200238-34AA-483D-97F4-4294300FB301}" type="parTrans" cxnId="{82F81131-287C-49EC-B400-D378E254BF5F}">
      <dgm:prSet/>
      <dgm:spPr/>
      <dgm:t>
        <a:bodyPr/>
        <a:lstStyle/>
        <a:p>
          <a:endParaRPr lang="en-CA" sz="1100"/>
        </a:p>
      </dgm:t>
    </dgm:pt>
    <dgm:pt modelId="{1913D52D-53ED-4775-B4DA-CFA0F71D512C}" type="sibTrans" cxnId="{82F81131-287C-49EC-B400-D378E254BF5F}">
      <dgm:prSet/>
      <dgm:spPr/>
      <dgm:t>
        <a:bodyPr/>
        <a:lstStyle/>
        <a:p>
          <a:endParaRPr lang="en-CA" sz="1100"/>
        </a:p>
      </dgm:t>
    </dgm:pt>
    <dgm:pt modelId="{FA6C9CF4-198F-4B74-9FA9-49289C3D28C9}">
      <dgm:prSet phldrT="[Text]" custT="1"/>
      <dgm:spPr/>
      <dgm:t>
        <a:bodyPr/>
        <a:lstStyle/>
        <a:p>
          <a:r>
            <a:rPr lang="en-US" sz="1400" dirty="0"/>
            <a:t>The 3 Cs approach</a:t>
          </a:r>
          <a:endParaRPr lang="en-CA" sz="1400" dirty="0"/>
        </a:p>
      </dgm:t>
    </dgm:pt>
    <dgm:pt modelId="{D7A9D6A1-454D-4469-97A9-076F4CF0825D}" type="parTrans" cxnId="{0D38E9EE-109C-473B-98F5-576706125597}">
      <dgm:prSet/>
      <dgm:spPr/>
      <dgm:t>
        <a:bodyPr/>
        <a:lstStyle/>
        <a:p>
          <a:endParaRPr lang="en-CA" sz="1100"/>
        </a:p>
      </dgm:t>
    </dgm:pt>
    <dgm:pt modelId="{5F081118-0C3F-41FF-81C3-5A4616FF800D}" type="sibTrans" cxnId="{0D38E9EE-109C-473B-98F5-576706125597}">
      <dgm:prSet/>
      <dgm:spPr/>
      <dgm:t>
        <a:bodyPr/>
        <a:lstStyle/>
        <a:p>
          <a:endParaRPr lang="en-CA" sz="1100"/>
        </a:p>
      </dgm:t>
    </dgm:pt>
    <dgm:pt modelId="{794E3937-BC1C-43E3-BE3D-D35B719B5F32}">
      <dgm:prSet phldrT="[Text]" custT="1"/>
      <dgm:spPr/>
      <dgm:t>
        <a:bodyPr/>
        <a:lstStyle/>
        <a:p>
          <a:r>
            <a:rPr lang="en-US" sz="1400" dirty="0"/>
            <a:t>External v. internal</a:t>
          </a:r>
          <a:endParaRPr lang="en-CA" sz="1400" dirty="0"/>
        </a:p>
      </dgm:t>
    </dgm:pt>
    <dgm:pt modelId="{A54ED34E-4A9D-44E2-96B9-53D8813CB753}" type="parTrans" cxnId="{9687A392-EB62-4F1D-81D5-5909285CD25F}">
      <dgm:prSet/>
      <dgm:spPr/>
      <dgm:t>
        <a:bodyPr/>
        <a:lstStyle/>
        <a:p>
          <a:endParaRPr lang="en-CA" sz="1100"/>
        </a:p>
      </dgm:t>
    </dgm:pt>
    <dgm:pt modelId="{431FDDFD-C5AD-4E5C-8492-4915E4367639}" type="sibTrans" cxnId="{9687A392-EB62-4F1D-81D5-5909285CD25F}">
      <dgm:prSet/>
      <dgm:spPr/>
      <dgm:t>
        <a:bodyPr/>
        <a:lstStyle/>
        <a:p>
          <a:endParaRPr lang="en-CA" sz="1100"/>
        </a:p>
      </dgm:t>
    </dgm:pt>
    <dgm:pt modelId="{2CD559BA-77F6-4569-9422-F93967253016}">
      <dgm:prSet phldrT="[Text]" custT="1"/>
      <dgm:spPr/>
      <dgm:t>
        <a:bodyPr/>
        <a:lstStyle/>
        <a:p>
          <a:r>
            <a:rPr lang="en-US" sz="1400" dirty="0"/>
            <a:t>Economic v. organizational</a:t>
          </a:r>
          <a:endParaRPr lang="en-CA" sz="1400" dirty="0"/>
        </a:p>
      </dgm:t>
    </dgm:pt>
    <dgm:pt modelId="{8CA22C15-083D-4D6B-BB7B-4ECA19EEC6B4}" type="parTrans" cxnId="{A7C2BBBF-5FD5-42BE-80D0-AE7C39903D7B}">
      <dgm:prSet/>
      <dgm:spPr/>
      <dgm:t>
        <a:bodyPr/>
        <a:lstStyle/>
        <a:p>
          <a:endParaRPr lang="en-CA" sz="1100"/>
        </a:p>
      </dgm:t>
    </dgm:pt>
    <dgm:pt modelId="{B19982C6-EE82-4D3A-B7DE-00CBA2D57E6C}" type="sibTrans" cxnId="{A7C2BBBF-5FD5-42BE-80D0-AE7C39903D7B}">
      <dgm:prSet/>
      <dgm:spPr/>
      <dgm:t>
        <a:bodyPr/>
        <a:lstStyle/>
        <a:p>
          <a:endParaRPr lang="en-CA" sz="1100"/>
        </a:p>
      </dgm:t>
    </dgm:pt>
    <dgm:pt modelId="{851DDFD2-5675-4FB5-A6AC-2E063745849F}">
      <dgm:prSet phldrT="[Text]" custT="1"/>
      <dgm:spPr/>
      <dgm:t>
        <a:bodyPr/>
        <a:lstStyle/>
        <a:p>
          <a:r>
            <a:rPr lang="en-US" sz="1400" dirty="0"/>
            <a:t>Strategic leadership</a:t>
          </a:r>
          <a:endParaRPr lang="en-CA" sz="1400" dirty="0"/>
        </a:p>
      </dgm:t>
    </dgm:pt>
    <dgm:pt modelId="{3E676271-D87F-4AE4-8349-A6048C187BDD}" type="parTrans" cxnId="{9E870CA2-0F82-46F6-8E4C-269B88DB7393}">
      <dgm:prSet/>
      <dgm:spPr/>
      <dgm:t>
        <a:bodyPr/>
        <a:lstStyle/>
        <a:p>
          <a:endParaRPr lang="en-CA" sz="1100"/>
        </a:p>
      </dgm:t>
    </dgm:pt>
    <dgm:pt modelId="{C4A67B67-FC91-4333-80B4-2F0628B8AEF8}" type="sibTrans" cxnId="{9E870CA2-0F82-46F6-8E4C-269B88DB7393}">
      <dgm:prSet/>
      <dgm:spPr/>
      <dgm:t>
        <a:bodyPr/>
        <a:lstStyle/>
        <a:p>
          <a:endParaRPr lang="en-CA" sz="1100"/>
        </a:p>
      </dgm:t>
    </dgm:pt>
    <dgm:pt modelId="{2680EDB4-8B61-4C7A-BE72-9207BB5202D0}">
      <dgm:prSet phldrT="[Text]" custT="1"/>
      <dgm:spPr/>
      <dgm:t>
        <a:bodyPr/>
        <a:lstStyle/>
        <a:p>
          <a:r>
            <a:rPr lang="en-US" sz="1400" dirty="0"/>
            <a:t>Prescriptive v. descriptive</a:t>
          </a:r>
          <a:endParaRPr lang="en-CA" sz="1400" dirty="0"/>
        </a:p>
      </dgm:t>
    </dgm:pt>
    <dgm:pt modelId="{45DDADA4-1F47-42EB-894F-7C262FFF33A1}" type="parTrans" cxnId="{CA73FBBF-3848-4A5A-B643-F0570620C3B7}">
      <dgm:prSet/>
      <dgm:spPr/>
      <dgm:t>
        <a:bodyPr/>
        <a:lstStyle/>
        <a:p>
          <a:endParaRPr lang="en-CA" sz="1100"/>
        </a:p>
      </dgm:t>
    </dgm:pt>
    <dgm:pt modelId="{C5F0E55B-0228-45C9-8824-9CD180269115}" type="sibTrans" cxnId="{CA73FBBF-3848-4A5A-B643-F0570620C3B7}">
      <dgm:prSet/>
      <dgm:spPr/>
      <dgm:t>
        <a:bodyPr/>
        <a:lstStyle/>
        <a:p>
          <a:endParaRPr lang="en-CA" sz="1100"/>
        </a:p>
      </dgm:t>
    </dgm:pt>
    <dgm:pt modelId="{149CB839-772C-4201-A8EF-3164D6F92F88}">
      <dgm:prSet phldrT="[Text]" custT="1"/>
      <dgm:spPr/>
      <dgm:t>
        <a:bodyPr/>
        <a:lstStyle/>
        <a:p>
          <a:endParaRPr lang="en-CA"/>
        </a:p>
      </dgm:t>
    </dgm:pt>
    <dgm:pt modelId="{3776B3DE-AB15-4F60-AFAB-CB700A497CC5}" type="parTrans" cxnId="{5E294903-491D-41CD-8ECC-E316270CF62D}">
      <dgm:prSet/>
      <dgm:spPr/>
      <dgm:t>
        <a:bodyPr/>
        <a:lstStyle/>
        <a:p>
          <a:endParaRPr lang="en-CA" sz="1100"/>
        </a:p>
      </dgm:t>
    </dgm:pt>
    <dgm:pt modelId="{7061409F-EB71-4427-BEC1-C9D45F061682}" type="sibTrans" cxnId="{5E294903-491D-41CD-8ECC-E316270CF62D}">
      <dgm:prSet/>
      <dgm:spPr/>
      <dgm:t>
        <a:bodyPr/>
        <a:lstStyle/>
        <a:p>
          <a:endParaRPr lang="en-CA" sz="1100"/>
        </a:p>
      </dgm:t>
    </dgm:pt>
    <dgm:pt modelId="{A78C890D-5A32-47BF-AD1F-F8CAE620132D}" type="pres">
      <dgm:prSet presAssocID="{484C5B61-880F-4C4D-B59E-0A7EE305C81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CA"/>
        </a:p>
      </dgm:t>
    </dgm:pt>
    <dgm:pt modelId="{0F8C9A27-9190-4962-9F5B-0FEE8569DD24}" type="pres">
      <dgm:prSet presAssocID="{484C5B61-880F-4C4D-B59E-0A7EE305C81F}" presName="Name1" presStyleCnt="0"/>
      <dgm:spPr/>
    </dgm:pt>
    <dgm:pt modelId="{44F64B83-5FFC-4FDE-89BC-388595E22564}" type="pres">
      <dgm:prSet presAssocID="{484C5B61-880F-4C4D-B59E-0A7EE305C81F}" presName="cycle" presStyleCnt="0"/>
      <dgm:spPr/>
    </dgm:pt>
    <dgm:pt modelId="{056D7C8F-327E-4BBC-AFD5-96E1274AEC4B}" type="pres">
      <dgm:prSet presAssocID="{484C5B61-880F-4C4D-B59E-0A7EE305C81F}" presName="srcNode" presStyleLbl="node1" presStyleIdx="0" presStyleCnt="7"/>
      <dgm:spPr/>
    </dgm:pt>
    <dgm:pt modelId="{61CF5DCF-63D5-46FD-98CE-871753B30260}" type="pres">
      <dgm:prSet presAssocID="{484C5B61-880F-4C4D-B59E-0A7EE305C81F}" presName="conn" presStyleLbl="parChTrans1D2" presStyleIdx="0" presStyleCnt="1"/>
      <dgm:spPr/>
      <dgm:t>
        <a:bodyPr/>
        <a:lstStyle/>
        <a:p>
          <a:endParaRPr lang="en-CA"/>
        </a:p>
      </dgm:t>
    </dgm:pt>
    <dgm:pt modelId="{A5C2ABCF-D34C-4BE6-9912-80C8A397B86D}" type="pres">
      <dgm:prSet presAssocID="{484C5B61-880F-4C4D-B59E-0A7EE305C81F}" presName="extraNode" presStyleLbl="node1" presStyleIdx="0" presStyleCnt="7"/>
      <dgm:spPr/>
    </dgm:pt>
    <dgm:pt modelId="{F84A3A65-BFF6-48A6-9F68-303C5281D277}" type="pres">
      <dgm:prSet presAssocID="{484C5B61-880F-4C4D-B59E-0A7EE305C81F}" presName="dstNode" presStyleLbl="node1" presStyleIdx="0" presStyleCnt="7"/>
      <dgm:spPr/>
    </dgm:pt>
    <dgm:pt modelId="{F600D38F-714F-4162-AE5E-1AE787989C8D}" type="pres">
      <dgm:prSet presAssocID="{D252F16E-046E-48F1-9D83-74959DC9409E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8F63DC8-7D56-4DA2-8912-F0D802A2E572}" type="pres">
      <dgm:prSet presAssocID="{D252F16E-046E-48F1-9D83-74959DC9409E}" presName="accent_1" presStyleCnt="0"/>
      <dgm:spPr/>
    </dgm:pt>
    <dgm:pt modelId="{17D5E4CF-923E-4093-944E-7169D1C94FFA}" type="pres">
      <dgm:prSet presAssocID="{D252F16E-046E-48F1-9D83-74959DC9409E}" presName="accentRepeatNode" presStyleLbl="solidFgAcc1" presStyleIdx="0" presStyleCnt="7"/>
      <dgm:spPr/>
    </dgm:pt>
    <dgm:pt modelId="{F8F97BFB-EBCA-4334-ADBF-139CE6A470A0}" type="pres">
      <dgm:prSet presAssocID="{AEEAF0C7-4A33-4184-9ECA-77897B64AADE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2ADCDFF6-64A5-42DE-A0A1-B7F84C929F3C}" type="pres">
      <dgm:prSet presAssocID="{AEEAF0C7-4A33-4184-9ECA-77897B64AADE}" presName="accent_2" presStyleCnt="0"/>
      <dgm:spPr/>
    </dgm:pt>
    <dgm:pt modelId="{F889002A-3948-43B4-B1B3-C2E201410D28}" type="pres">
      <dgm:prSet presAssocID="{AEEAF0C7-4A33-4184-9ECA-77897B64AADE}" presName="accentRepeatNode" presStyleLbl="solidFgAcc1" presStyleIdx="1" presStyleCnt="7"/>
      <dgm:spPr/>
    </dgm:pt>
    <dgm:pt modelId="{12294CA4-36B4-49F4-B9F6-89C66EEB9BC2}" type="pres">
      <dgm:prSet presAssocID="{FA6C9CF4-198F-4B74-9FA9-49289C3D28C9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128BDADC-2F4D-43A8-A43B-DB41E570B235}" type="pres">
      <dgm:prSet presAssocID="{FA6C9CF4-198F-4B74-9FA9-49289C3D28C9}" presName="accent_3" presStyleCnt="0"/>
      <dgm:spPr/>
    </dgm:pt>
    <dgm:pt modelId="{2AAED898-69AD-4D50-9EF4-3CB8E807F455}" type="pres">
      <dgm:prSet presAssocID="{FA6C9CF4-198F-4B74-9FA9-49289C3D28C9}" presName="accentRepeatNode" presStyleLbl="solidFgAcc1" presStyleIdx="2" presStyleCnt="7"/>
      <dgm:spPr/>
    </dgm:pt>
    <dgm:pt modelId="{E6BA51CA-1EA7-4064-B731-6ADD5CA96AE7}" type="pres">
      <dgm:prSet presAssocID="{794E3937-BC1C-43E3-BE3D-D35B719B5F32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655CB933-8A54-45BC-8614-4F3AE4C7648F}" type="pres">
      <dgm:prSet presAssocID="{794E3937-BC1C-43E3-BE3D-D35B719B5F32}" presName="accent_4" presStyleCnt="0"/>
      <dgm:spPr/>
    </dgm:pt>
    <dgm:pt modelId="{E194CFE5-A0FD-4737-9B90-9EBA874F596A}" type="pres">
      <dgm:prSet presAssocID="{794E3937-BC1C-43E3-BE3D-D35B719B5F32}" presName="accentRepeatNode" presStyleLbl="solidFgAcc1" presStyleIdx="3" presStyleCnt="7"/>
      <dgm:spPr/>
    </dgm:pt>
    <dgm:pt modelId="{DE383645-B43C-46B7-A0E0-A2AB31B9178F}" type="pres">
      <dgm:prSet presAssocID="{2CD559BA-77F6-4569-9422-F93967253016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C63A353B-D40D-435D-9B55-74A680C45C01}" type="pres">
      <dgm:prSet presAssocID="{2CD559BA-77F6-4569-9422-F93967253016}" presName="accent_5" presStyleCnt="0"/>
      <dgm:spPr/>
    </dgm:pt>
    <dgm:pt modelId="{537CD6E0-6A69-4944-B2DD-F90E731DF16B}" type="pres">
      <dgm:prSet presAssocID="{2CD559BA-77F6-4569-9422-F93967253016}" presName="accentRepeatNode" presStyleLbl="solidFgAcc1" presStyleIdx="4" presStyleCnt="7"/>
      <dgm:spPr/>
    </dgm:pt>
    <dgm:pt modelId="{5EA637EF-C6EC-49A4-A777-0833E2E401B1}" type="pres">
      <dgm:prSet presAssocID="{851DDFD2-5675-4FB5-A6AC-2E063745849F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A51CFD8A-EE8B-4B7F-9D51-F11EEF54BACB}" type="pres">
      <dgm:prSet presAssocID="{851DDFD2-5675-4FB5-A6AC-2E063745849F}" presName="accent_6" presStyleCnt="0"/>
      <dgm:spPr/>
    </dgm:pt>
    <dgm:pt modelId="{E96BEA34-5F01-49DD-B33D-B24CA0061C08}" type="pres">
      <dgm:prSet presAssocID="{851DDFD2-5675-4FB5-A6AC-2E063745849F}" presName="accentRepeatNode" presStyleLbl="solidFgAcc1" presStyleIdx="5" presStyleCnt="7"/>
      <dgm:spPr/>
    </dgm:pt>
    <dgm:pt modelId="{7A23AABD-E977-4761-ABA8-A52A3D97EEF3}" type="pres">
      <dgm:prSet presAssocID="{2680EDB4-8B61-4C7A-BE72-9207BB5202D0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2D534A5E-8213-42A0-8634-78DFDE4779D1}" type="pres">
      <dgm:prSet presAssocID="{2680EDB4-8B61-4C7A-BE72-9207BB5202D0}" presName="accent_7" presStyleCnt="0"/>
      <dgm:spPr/>
    </dgm:pt>
    <dgm:pt modelId="{A82E1EB1-32EF-4B84-8E1C-03913E981609}" type="pres">
      <dgm:prSet presAssocID="{2680EDB4-8B61-4C7A-BE72-9207BB5202D0}" presName="accentRepeatNode" presStyleLbl="solidFgAcc1" presStyleIdx="6" presStyleCnt="7"/>
      <dgm:spPr/>
    </dgm:pt>
  </dgm:ptLst>
  <dgm:cxnLst>
    <dgm:cxn modelId="{9687A392-EB62-4F1D-81D5-5909285CD25F}" srcId="{484C5B61-880F-4C4D-B59E-0A7EE305C81F}" destId="{794E3937-BC1C-43E3-BE3D-D35B719B5F32}" srcOrd="3" destOrd="0" parTransId="{A54ED34E-4A9D-44E2-96B9-53D8813CB753}" sibTransId="{431FDDFD-C5AD-4E5C-8492-4915E4367639}"/>
    <dgm:cxn modelId="{34EA24D1-36A5-46BE-9FD4-A388CD9E239C}" srcId="{484C5B61-880F-4C4D-B59E-0A7EE305C81F}" destId="{D252F16E-046E-48F1-9D83-74959DC9409E}" srcOrd="0" destOrd="0" parTransId="{95CAB5FF-1CA5-4EE5-A0E2-0E75ADC2D915}" sibTransId="{8FCD9805-27D5-4D91-8B5C-124506DC4172}"/>
    <dgm:cxn modelId="{92981DD1-8411-43CB-9F5B-28131E5296C3}" type="presOf" srcId="{851DDFD2-5675-4FB5-A6AC-2E063745849F}" destId="{5EA637EF-C6EC-49A4-A777-0833E2E401B1}" srcOrd="0" destOrd="0" presId="urn:microsoft.com/office/officeart/2008/layout/VerticalCurvedList"/>
    <dgm:cxn modelId="{C56DFB79-CEFF-44FB-931B-4D643F20D743}" type="presOf" srcId="{D252F16E-046E-48F1-9D83-74959DC9409E}" destId="{F600D38F-714F-4162-AE5E-1AE787989C8D}" srcOrd="0" destOrd="0" presId="urn:microsoft.com/office/officeart/2008/layout/VerticalCurvedList"/>
    <dgm:cxn modelId="{9E870CA2-0F82-46F6-8E4C-269B88DB7393}" srcId="{484C5B61-880F-4C4D-B59E-0A7EE305C81F}" destId="{851DDFD2-5675-4FB5-A6AC-2E063745849F}" srcOrd="5" destOrd="0" parTransId="{3E676271-D87F-4AE4-8349-A6048C187BDD}" sibTransId="{C4A67B67-FC91-4333-80B4-2F0628B8AEF8}"/>
    <dgm:cxn modelId="{D2FEA59A-3642-4B8D-BA08-409B169ADED1}" type="presOf" srcId="{2CD559BA-77F6-4569-9422-F93967253016}" destId="{DE383645-B43C-46B7-A0E0-A2AB31B9178F}" srcOrd="0" destOrd="0" presId="urn:microsoft.com/office/officeart/2008/layout/VerticalCurvedList"/>
    <dgm:cxn modelId="{DB2DD075-F139-4921-9713-EBD2963B44D5}" type="presOf" srcId="{FA6C9CF4-198F-4B74-9FA9-49289C3D28C9}" destId="{12294CA4-36B4-49F4-B9F6-89C66EEB9BC2}" srcOrd="0" destOrd="0" presId="urn:microsoft.com/office/officeart/2008/layout/VerticalCurvedList"/>
    <dgm:cxn modelId="{0D38E9EE-109C-473B-98F5-576706125597}" srcId="{484C5B61-880F-4C4D-B59E-0A7EE305C81F}" destId="{FA6C9CF4-198F-4B74-9FA9-49289C3D28C9}" srcOrd="2" destOrd="0" parTransId="{D7A9D6A1-454D-4469-97A9-076F4CF0825D}" sibTransId="{5F081118-0C3F-41FF-81C3-5A4616FF800D}"/>
    <dgm:cxn modelId="{F58180ED-1BC1-40C2-95FD-8B43EB874062}" type="presOf" srcId="{484C5B61-880F-4C4D-B59E-0A7EE305C81F}" destId="{A78C890D-5A32-47BF-AD1F-F8CAE620132D}" srcOrd="0" destOrd="0" presId="urn:microsoft.com/office/officeart/2008/layout/VerticalCurvedList"/>
    <dgm:cxn modelId="{A7C2BBBF-5FD5-42BE-80D0-AE7C39903D7B}" srcId="{484C5B61-880F-4C4D-B59E-0A7EE305C81F}" destId="{2CD559BA-77F6-4569-9422-F93967253016}" srcOrd="4" destOrd="0" parTransId="{8CA22C15-083D-4D6B-BB7B-4ECA19EEC6B4}" sibTransId="{B19982C6-EE82-4D3A-B7DE-00CBA2D57E6C}"/>
    <dgm:cxn modelId="{CA73FBBF-3848-4A5A-B643-F0570620C3B7}" srcId="{484C5B61-880F-4C4D-B59E-0A7EE305C81F}" destId="{2680EDB4-8B61-4C7A-BE72-9207BB5202D0}" srcOrd="6" destOrd="0" parTransId="{45DDADA4-1F47-42EB-894F-7C262FFF33A1}" sibTransId="{C5F0E55B-0228-45C9-8824-9CD180269115}"/>
    <dgm:cxn modelId="{89835A31-8A49-4600-A877-131CAEC339B2}" type="presOf" srcId="{AEEAF0C7-4A33-4184-9ECA-77897B64AADE}" destId="{F8F97BFB-EBCA-4334-ADBF-139CE6A470A0}" srcOrd="0" destOrd="0" presId="urn:microsoft.com/office/officeart/2008/layout/VerticalCurvedList"/>
    <dgm:cxn modelId="{82F81131-287C-49EC-B400-D378E254BF5F}" srcId="{484C5B61-880F-4C4D-B59E-0A7EE305C81F}" destId="{AEEAF0C7-4A33-4184-9ECA-77897B64AADE}" srcOrd="1" destOrd="0" parTransId="{F0200238-34AA-483D-97F4-4294300FB301}" sibTransId="{1913D52D-53ED-4775-B4DA-CFA0F71D512C}"/>
    <dgm:cxn modelId="{4CE71C42-E44C-467D-AD7D-3A31A564A2D4}" type="presOf" srcId="{2680EDB4-8B61-4C7A-BE72-9207BB5202D0}" destId="{7A23AABD-E977-4761-ABA8-A52A3D97EEF3}" srcOrd="0" destOrd="0" presId="urn:microsoft.com/office/officeart/2008/layout/VerticalCurvedList"/>
    <dgm:cxn modelId="{5E294903-491D-41CD-8ECC-E316270CF62D}" srcId="{484C5B61-880F-4C4D-B59E-0A7EE305C81F}" destId="{149CB839-772C-4201-A8EF-3164D6F92F88}" srcOrd="7" destOrd="0" parTransId="{3776B3DE-AB15-4F60-AFAB-CB700A497CC5}" sibTransId="{7061409F-EB71-4427-BEC1-C9D45F061682}"/>
    <dgm:cxn modelId="{35B2E01C-1172-4EC1-9EB0-E1D5D403AEF1}" type="presOf" srcId="{794E3937-BC1C-43E3-BE3D-D35B719B5F32}" destId="{E6BA51CA-1EA7-4064-B731-6ADD5CA96AE7}" srcOrd="0" destOrd="0" presId="urn:microsoft.com/office/officeart/2008/layout/VerticalCurvedList"/>
    <dgm:cxn modelId="{C8D4E15F-F98E-458D-9836-45A3D11EEFBB}" type="presOf" srcId="{8FCD9805-27D5-4D91-8B5C-124506DC4172}" destId="{61CF5DCF-63D5-46FD-98CE-871753B30260}" srcOrd="0" destOrd="0" presId="urn:microsoft.com/office/officeart/2008/layout/VerticalCurvedList"/>
    <dgm:cxn modelId="{1FE19097-6EEF-47F1-9094-B49CB1DE8924}" type="presParOf" srcId="{A78C890D-5A32-47BF-AD1F-F8CAE620132D}" destId="{0F8C9A27-9190-4962-9F5B-0FEE8569DD24}" srcOrd="0" destOrd="0" presId="urn:microsoft.com/office/officeart/2008/layout/VerticalCurvedList"/>
    <dgm:cxn modelId="{5FB28C5B-BFA0-427A-837D-8C79AF7DB869}" type="presParOf" srcId="{0F8C9A27-9190-4962-9F5B-0FEE8569DD24}" destId="{44F64B83-5FFC-4FDE-89BC-388595E22564}" srcOrd="0" destOrd="0" presId="urn:microsoft.com/office/officeart/2008/layout/VerticalCurvedList"/>
    <dgm:cxn modelId="{37B82BF5-53C9-414C-8722-6E6FC1B1FC4B}" type="presParOf" srcId="{44F64B83-5FFC-4FDE-89BC-388595E22564}" destId="{056D7C8F-327E-4BBC-AFD5-96E1274AEC4B}" srcOrd="0" destOrd="0" presId="urn:microsoft.com/office/officeart/2008/layout/VerticalCurvedList"/>
    <dgm:cxn modelId="{62E38E23-508B-4ECC-AFE6-AFF24CE0A2E7}" type="presParOf" srcId="{44F64B83-5FFC-4FDE-89BC-388595E22564}" destId="{61CF5DCF-63D5-46FD-98CE-871753B30260}" srcOrd="1" destOrd="0" presId="urn:microsoft.com/office/officeart/2008/layout/VerticalCurvedList"/>
    <dgm:cxn modelId="{776F363B-6F55-4CB2-9A25-7D027D6659EA}" type="presParOf" srcId="{44F64B83-5FFC-4FDE-89BC-388595E22564}" destId="{A5C2ABCF-D34C-4BE6-9912-80C8A397B86D}" srcOrd="2" destOrd="0" presId="urn:microsoft.com/office/officeart/2008/layout/VerticalCurvedList"/>
    <dgm:cxn modelId="{C4059780-4568-41B5-8700-11D596500929}" type="presParOf" srcId="{44F64B83-5FFC-4FDE-89BC-388595E22564}" destId="{F84A3A65-BFF6-48A6-9F68-303C5281D277}" srcOrd="3" destOrd="0" presId="urn:microsoft.com/office/officeart/2008/layout/VerticalCurvedList"/>
    <dgm:cxn modelId="{58B5FAE8-B1AE-46C8-B1D9-2DCC50463CB0}" type="presParOf" srcId="{0F8C9A27-9190-4962-9F5B-0FEE8569DD24}" destId="{F600D38F-714F-4162-AE5E-1AE787989C8D}" srcOrd="1" destOrd="0" presId="urn:microsoft.com/office/officeart/2008/layout/VerticalCurvedList"/>
    <dgm:cxn modelId="{44078CB2-3F71-4A17-99EB-ED67BB34461B}" type="presParOf" srcId="{0F8C9A27-9190-4962-9F5B-0FEE8569DD24}" destId="{F8F63DC8-7D56-4DA2-8912-F0D802A2E572}" srcOrd="2" destOrd="0" presId="urn:microsoft.com/office/officeart/2008/layout/VerticalCurvedList"/>
    <dgm:cxn modelId="{3F85B95D-66D4-4014-AA5F-058E2BBAECC2}" type="presParOf" srcId="{F8F63DC8-7D56-4DA2-8912-F0D802A2E572}" destId="{17D5E4CF-923E-4093-944E-7169D1C94FFA}" srcOrd="0" destOrd="0" presId="urn:microsoft.com/office/officeart/2008/layout/VerticalCurvedList"/>
    <dgm:cxn modelId="{AA67BC51-5579-4B99-B4EA-023D3E84C0F4}" type="presParOf" srcId="{0F8C9A27-9190-4962-9F5B-0FEE8569DD24}" destId="{F8F97BFB-EBCA-4334-ADBF-139CE6A470A0}" srcOrd="3" destOrd="0" presId="urn:microsoft.com/office/officeart/2008/layout/VerticalCurvedList"/>
    <dgm:cxn modelId="{A9207267-A16B-49D3-891C-83F4722703F5}" type="presParOf" srcId="{0F8C9A27-9190-4962-9F5B-0FEE8569DD24}" destId="{2ADCDFF6-64A5-42DE-A0A1-B7F84C929F3C}" srcOrd="4" destOrd="0" presId="urn:microsoft.com/office/officeart/2008/layout/VerticalCurvedList"/>
    <dgm:cxn modelId="{2EF7262B-598A-45C4-82FD-68319F3531CC}" type="presParOf" srcId="{2ADCDFF6-64A5-42DE-A0A1-B7F84C929F3C}" destId="{F889002A-3948-43B4-B1B3-C2E201410D28}" srcOrd="0" destOrd="0" presId="urn:microsoft.com/office/officeart/2008/layout/VerticalCurvedList"/>
    <dgm:cxn modelId="{44999947-FAFB-4CC4-A6CA-F8C0EE20A8D5}" type="presParOf" srcId="{0F8C9A27-9190-4962-9F5B-0FEE8569DD24}" destId="{12294CA4-36B4-49F4-B9F6-89C66EEB9BC2}" srcOrd="5" destOrd="0" presId="urn:microsoft.com/office/officeart/2008/layout/VerticalCurvedList"/>
    <dgm:cxn modelId="{8C700D3D-66A9-4ACA-AF5D-2C653FBAB59F}" type="presParOf" srcId="{0F8C9A27-9190-4962-9F5B-0FEE8569DD24}" destId="{128BDADC-2F4D-43A8-A43B-DB41E570B235}" srcOrd="6" destOrd="0" presId="urn:microsoft.com/office/officeart/2008/layout/VerticalCurvedList"/>
    <dgm:cxn modelId="{BA139613-086B-430D-9FB3-49EA8E6D3FAF}" type="presParOf" srcId="{128BDADC-2F4D-43A8-A43B-DB41E570B235}" destId="{2AAED898-69AD-4D50-9EF4-3CB8E807F455}" srcOrd="0" destOrd="0" presId="urn:microsoft.com/office/officeart/2008/layout/VerticalCurvedList"/>
    <dgm:cxn modelId="{960F69DF-7D48-40CF-96FE-A507B1473D42}" type="presParOf" srcId="{0F8C9A27-9190-4962-9F5B-0FEE8569DD24}" destId="{E6BA51CA-1EA7-4064-B731-6ADD5CA96AE7}" srcOrd="7" destOrd="0" presId="urn:microsoft.com/office/officeart/2008/layout/VerticalCurvedList"/>
    <dgm:cxn modelId="{3CEE3832-7D0C-42B3-935C-D7481DE20D81}" type="presParOf" srcId="{0F8C9A27-9190-4962-9F5B-0FEE8569DD24}" destId="{655CB933-8A54-45BC-8614-4F3AE4C7648F}" srcOrd="8" destOrd="0" presId="urn:microsoft.com/office/officeart/2008/layout/VerticalCurvedList"/>
    <dgm:cxn modelId="{E0623C39-4912-4D0D-A8DF-4BC7C56CC5C5}" type="presParOf" srcId="{655CB933-8A54-45BC-8614-4F3AE4C7648F}" destId="{E194CFE5-A0FD-4737-9B90-9EBA874F596A}" srcOrd="0" destOrd="0" presId="urn:microsoft.com/office/officeart/2008/layout/VerticalCurvedList"/>
    <dgm:cxn modelId="{3F52C903-FDC1-45D7-AE3D-37F8E20A4179}" type="presParOf" srcId="{0F8C9A27-9190-4962-9F5B-0FEE8569DD24}" destId="{DE383645-B43C-46B7-A0E0-A2AB31B9178F}" srcOrd="9" destOrd="0" presId="urn:microsoft.com/office/officeart/2008/layout/VerticalCurvedList"/>
    <dgm:cxn modelId="{9C1E10C3-C88E-409B-8B9B-0AD0AB8421CD}" type="presParOf" srcId="{0F8C9A27-9190-4962-9F5B-0FEE8569DD24}" destId="{C63A353B-D40D-435D-9B55-74A680C45C01}" srcOrd="10" destOrd="0" presId="urn:microsoft.com/office/officeart/2008/layout/VerticalCurvedList"/>
    <dgm:cxn modelId="{B0E3D9B3-2EA8-40E8-ABFF-A3CAF226B917}" type="presParOf" srcId="{C63A353B-D40D-435D-9B55-74A680C45C01}" destId="{537CD6E0-6A69-4944-B2DD-F90E731DF16B}" srcOrd="0" destOrd="0" presId="urn:microsoft.com/office/officeart/2008/layout/VerticalCurvedList"/>
    <dgm:cxn modelId="{6E41AA7E-A6BB-4646-A954-5BF3681380E0}" type="presParOf" srcId="{0F8C9A27-9190-4962-9F5B-0FEE8569DD24}" destId="{5EA637EF-C6EC-49A4-A777-0833E2E401B1}" srcOrd="11" destOrd="0" presId="urn:microsoft.com/office/officeart/2008/layout/VerticalCurvedList"/>
    <dgm:cxn modelId="{B55C4C7A-FA59-40D6-8622-AC646F7AB626}" type="presParOf" srcId="{0F8C9A27-9190-4962-9F5B-0FEE8569DD24}" destId="{A51CFD8A-EE8B-4B7F-9D51-F11EEF54BACB}" srcOrd="12" destOrd="0" presId="urn:microsoft.com/office/officeart/2008/layout/VerticalCurvedList"/>
    <dgm:cxn modelId="{343F1C52-1E9B-49D4-AAD3-9E4E4C1B4516}" type="presParOf" srcId="{A51CFD8A-EE8B-4B7F-9D51-F11EEF54BACB}" destId="{E96BEA34-5F01-49DD-B33D-B24CA0061C08}" srcOrd="0" destOrd="0" presId="urn:microsoft.com/office/officeart/2008/layout/VerticalCurvedList"/>
    <dgm:cxn modelId="{3BEBD3C7-E436-41A3-9FA5-4BDC96AA8D75}" type="presParOf" srcId="{0F8C9A27-9190-4962-9F5B-0FEE8569DD24}" destId="{7A23AABD-E977-4761-ABA8-A52A3D97EEF3}" srcOrd="13" destOrd="0" presId="urn:microsoft.com/office/officeart/2008/layout/VerticalCurvedList"/>
    <dgm:cxn modelId="{0056B161-EEFE-446E-909F-8B82E914B26D}" type="presParOf" srcId="{0F8C9A27-9190-4962-9F5B-0FEE8569DD24}" destId="{2D534A5E-8213-42A0-8634-78DFDE4779D1}" srcOrd="14" destOrd="0" presId="urn:microsoft.com/office/officeart/2008/layout/VerticalCurvedList"/>
    <dgm:cxn modelId="{1C7213BA-A23E-4C75-B5ED-F0FCAA4A94B5}" type="presParOf" srcId="{2D534A5E-8213-42A0-8634-78DFDE4779D1}" destId="{A82E1EB1-32EF-4B84-8E1C-03913E98160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CF5DCF-63D5-46FD-98CE-871753B30260}">
      <dsp:nvSpPr>
        <dsp:cNvPr id="0" name=""/>
        <dsp:cNvSpPr/>
      </dsp:nvSpPr>
      <dsp:spPr>
        <a:xfrm>
          <a:off x="-3282169" y="-504923"/>
          <a:ext cx="3914056" cy="3914056"/>
        </a:xfrm>
        <a:prstGeom prst="blockArc">
          <a:avLst>
            <a:gd name="adj1" fmla="val 18900000"/>
            <a:gd name="adj2" fmla="val 2700000"/>
            <a:gd name="adj3" fmla="val 552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00D38F-714F-4162-AE5E-1AE787989C8D}">
      <dsp:nvSpPr>
        <dsp:cNvPr id="0" name=""/>
        <dsp:cNvSpPr/>
      </dsp:nvSpPr>
      <dsp:spPr>
        <a:xfrm>
          <a:off x="205632" y="132025"/>
          <a:ext cx="3558784" cy="2639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4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Competitive advantage</a:t>
          </a:r>
          <a:endParaRPr lang="en-CA" sz="1400" kern="1200" dirty="0"/>
        </a:p>
      </dsp:txBody>
      <dsp:txXfrm>
        <a:off x="205632" y="132025"/>
        <a:ext cx="3558784" cy="263934"/>
      </dsp:txXfrm>
    </dsp:sp>
    <dsp:sp modelId="{17D5E4CF-923E-4093-944E-7169D1C94FFA}">
      <dsp:nvSpPr>
        <dsp:cNvPr id="0" name=""/>
        <dsp:cNvSpPr/>
      </dsp:nvSpPr>
      <dsp:spPr>
        <a:xfrm>
          <a:off x="40673" y="99033"/>
          <a:ext cx="329918" cy="3299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F97BFB-EBCA-4334-ADBF-139CE6A470A0}">
      <dsp:nvSpPr>
        <dsp:cNvPr id="0" name=""/>
        <dsp:cNvSpPr/>
      </dsp:nvSpPr>
      <dsp:spPr>
        <a:xfrm>
          <a:off x="444648" y="528159"/>
          <a:ext cx="3319768" cy="2639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4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Process v. content</a:t>
          </a:r>
          <a:endParaRPr lang="en-CA" sz="1400" kern="1200" dirty="0"/>
        </a:p>
      </dsp:txBody>
      <dsp:txXfrm>
        <a:off x="444648" y="528159"/>
        <a:ext cx="3319768" cy="263934"/>
      </dsp:txXfrm>
    </dsp:sp>
    <dsp:sp modelId="{F889002A-3948-43B4-B1B3-C2E201410D28}">
      <dsp:nvSpPr>
        <dsp:cNvPr id="0" name=""/>
        <dsp:cNvSpPr/>
      </dsp:nvSpPr>
      <dsp:spPr>
        <a:xfrm>
          <a:off x="279689" y="495167"/>
          <a:ext cx="329918" cy="3299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294CA4-36B4-49F4-B9F6-89C66EEB9BC2}">
      <dsp:nvSpPr>
        <dsp:cNvPr id="0" name=""/>
        <dsp:cNvSpPr/>
      </dsp:nvSpPr>
      <dsp:spPr>
        <a:xfrm>
          <a:off x="575628" y="924003"/>
          <a:ext cx="3188788" cy="2639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4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The 3 Cs approach</a:t>
          </a:r>
          <a:endParaRPr lang="en-CA" sz="1400" kern="1200" dirty="0"/>
        </a:p>
      </dsp:txBody>
      <dsp:txXfrm>
        <a:off x="575628" y="924003"/>
        <a:ext cx="3188788" cy="263934"/>
      </dsp:txXfrm>
    </dsp:sp>
    <dsp:sp modelId="{2AAED898-69AD-4D50-9EF4-3CB8E807F455}">
      <dsp:nvSpPr>
        <dsp:cNvPr id="0" name=""/>
        <dsp:cNvSpPr/>
      </dsp:nvSpPr>
      <dsp:spPr>
        <a:xfrm>
          <a:off x="410669" y="891011"/>
          <a:ext cx="329918" cy="3299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BA51CA-1EA7-4064-B731-6ADD5CA96AE7}">
      <dsp:nvSpPr>
        <dsp:cNvPr id="0" name=""/>
        <dsp:cNvSpPr/>
      </dsp:nvSpPr>
      <dsp:spPr>
        <a:xfrm>
          <a:off x="617449" y="1320137"/>
          <a:ext cx="3146967" cy="2639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4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External v. internal</a:t>
          </a:r>
          <a:endParaRPr lang="en-CA" sz="1400" kern="1200" dirty="0"/>
        </a:p>
      </dsp:txBody>
      <dsp:txXfrm>
        <a:off x="617449" y="1320137"/>
        <a:ext cx="3146967" cy="263934"/>
      </dsp:txXfrm>
    </dsp:sp>
    <dsp:sp modelId="{E194CFE5-A0FD-4737-9B90-9EBA874F596A}">
      <dsp:nvSpPr>
        <dsp:cNvPr id="0" name=""/>
        <dsp:cNvSpPr/>
      </dsp:nvSpPr>
      <dsp:spPr>
        <a:xfrm>
          <a:off x="452490" y="1287145"/>
          <a:ext cx="329918" cy="3299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383645-B43C-46B7-A0E0-A2AB31B9178F}">
      <dsp:nvSpPr>
        <dsp:cNvPr id="0" name=""/>
        <dsp:cNvSpPr/>
      </dsp:nvSpPr>
      <dsp:spPr>
        <a:xfrm>
          <a:off x="575628" y="1716271"/>
          <a:ext cx="3188788" cy="2639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4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Economic v. organizational</a:t>
          </a:r>
          <a:endParaRPr lang="en-CA" sz="1400" kern="1200" dirty="0"/>
        </a:p>
      </dsp:txBody>
      <dsp:txXfrm>
        <a:off x="575628" y="1716271"/>
        <a:ext cx="3188788" cy="263934"/>
      </dsp:txXfrm>
    </dsp:sp>
    <dsp:sp modelId="{537CD6E0-6A69-4944-B2DD-F90E731DF16B}">
      <dsp:nvSpPr>
        <dsp:cNvPr id="0" name=""/>
        <dsp:cNvSpPr/>
      </dsp:nvSpPr>
      <dsp:spPr>
        <a:xfrm>
          <a:off x="410669" y="1683279"/>
          <a:ext cx="329918" cy="3299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A637EF-C6EC-49A4-A777-0833E2E401B1}">
      <dsp:nvSpPr>
        <dsp:cNvPr id="0" name=""/>
        <dsp:cNvSpPr/>
      </dsp:nvSpPr>
      <dsp:spPr>
        <a:xfrm>
          <a:off x="444648" y="2112115"/>
          <a:ext cx="3319768" cy="2639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4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Strategic leadership</a:t>
          </a:r>
          <a:endParaRPr lang="en-CA" sz="1400" kern="1200" dirty="0"/>
        </a:p>
      </dsp:txBody>
      <dsp:txXfrm>
        <a:off x="444648" y="2112115"/>
        <a:ext cx="3319768" cy="263934"/>
      </dsp:txXfrm>
    </dsp:sp>
    <dsp:sp modelId="{E96BEA34-5F01-49DD-B33D-B24CA0061C08}">
      <dsp:nvSpPr>
        <dsp:cNvPr id="0" name=""/>
        <dsp:cNvSpPr/>
      </dsp:nvSpPr>
      <dsp:spPr>
        <a:xfrm>
          <a:off x="279689" y="2079123"/>
          <a:ext cx="329918" cy="3299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23AABD-E977-4761-ABA8-A52A3D97EEF3}">
      <dsp:nvSpPr>
        <dsp:cNvPr id="0" name=""/>
        <dsp:cNvSpPr/>
      </dsp:nvSpPr>
      <dsp:spPr>
        <a:xfrm>
          <a:off x="205632" y="2508249"/>
          <a:ext cx="3558784" cy="2639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4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Prescriptive v. descriptive</a:t>
          </a:r>
          <a:endParaRPr lang="en-CA" sz="1400" kern="1200" dirty="0"/>
        </a:p>
      </dsp:txBody>
      <dsp:txXfrm>
        <a:off x="205632" y="2508249"/>
        <a:ext cx="3558784" cy="263934"/>
      </dsp:txXfrm>
    </dsp:sp>
    <dsp:sp modelId="{A82E1EB1-32EF-4B84-8E1C-03913E981609}">
      <dsp:nvSpPr>
        <dsp:cNvPr id="0" name=""/>
        <dsp:cNvSpPr/>
      </dsp:nvSpPr>
      <dsp:spPr>
        <a:xfrm>
          <a:off x="40673" y="2475257"/>
          <a:ext cx="329918" cy="3299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ED006EA4-D462-4253-8FC7-D35175043F19}" type="datetimeFigureOut">
              <a:rPr lang="en-US" smtClean="0"/>
              <a:t>6/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502DA24A-F480-4AA7-ACF1-F7D1E577F3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409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34E1B6C9-DAE3-4E7B-AB3C-9473EC02D78D}" type="datetimeFigureOut">
              <a:rPr lang="en-US" smtClean="0"/>
              <a:t>6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0" y="1154113"/>
            <a:ext cx="41560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65F1ACBD-245E-4A24-AC78-063168A886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599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249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Optional</a:t>
            </a:r>
            <a:r>
              <a:rPr lang="en-CA" baseline="0" dirty="0"/>
              <a:t> to cover or not.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226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1154113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488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1154113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522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1154113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367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9254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AE942-ED18-486C-A3C6-A1578DA986F2}" type="slidenum">
              <a:rPr lang="en-CA" smtClean="0">
                <a:solidFill>
                  <a:prstClr val="black"/>
                </a:solidFill>
              </a:rPr>
              <a:pPr/>
              <a:t>7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4586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AE942-ED18-486C-A3C6-A1578DA986F2}" type="slidenum">
              <a:rPr lang="en-CA" smtClean="0">
                <a:solidFill>
                  <a:prstClr val="black"/>
                </a:solidFill>
              </a:rPr>
              <a:pPr/>
              <a:t>8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024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baseline="0" dirty="0"/>
          </a:p>
          <a:p>
            <a:r>
              <a:rPr lang="en-CA" baseline="0" dirty="0"/>
              <a:t>INTERNAL NOTE: We no longer cover tools. 1.4 is new. 3.2 is new. 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890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537960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0" y="6090046"/>
            <a:ext cx="9144000" cy="767954"/>
            <a:chOff x="0" y="6090046"/>
            <a:chExt cx="9144000" cy="767954"/>
          </a:xfrm>
        </p:grpSpPr>
        <p:sp>
          <p:nvSpPr>
            <p:cNvPr id="29" name="Rectangle 28"/>
            <p:cNvSpPr/>
            <p:nvPr/>
          </p:nvSpPr>
          <p:spPr>
            <a:xfrm>
              <a:off x="0" y="6090046"/>
              <a:ext cx="6696236" cy="767953"/>
            </a:xfrm>
            <a:prstGeom prst="rect">
              <a:avLst/>
            </a:prstGeom>
            <a:solidFill>
              <a:srgbClr val="2947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800" dirty="0">
                  <a:solidFill>
                    <a:srgbClr val="ADB7C3"/>
                  </a:solidFill>
                </a:rPr>
                <a:t>Info-Tech Research Group, Inc. is a global leader in providing IT research and advice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Info-Tech’s products and services combine actionable insight and relevant advice with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ready-to-use tools and templates that cover the full spectrum of IT concerns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© 1997-2018 Info-Tech Research Group Inc.</a:t>
              </a:r>
            </a:p>
          </p:txBody>
        </p:sp>
        <p:grpSp>
          <p:nvGrpSpPr>
            <p:cNvPr id="2" name="Group 1"/>
            <p:cNvGrpSpPr/>
            <p:nvPr userDrawn="1"/>
          </p:nvGrpSpPr>
          <p:grpSpPr>
            <a:xfrm>
              <a:off x="6696236" y="6090047"/>
              <a:ext cx="2447764" cy="767953"/>
              <a:chOff x="6696236" y="6090047"/>
              <a:chExt cx="2447764" cy="767953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6696236" y="6090047"/>
                <a:ext cx="2447764" cy="767953"/>
              </a:xfrm>
              <a:prstGeom prst="rect">
                <a:avLst/>
              </a:prstGeom>
              <a:solidFill>
                <a:srgbClr val="29475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800" dirty="0">
                  <a:solidFill>
                    <a:srgbClr val="ADB7C3"/>
                  </a:solidFill>
                </a:endParaRPr>
              </a:p>
            </p:txBody>
          </p:sp>
          <p:pic>
            <p:nvPicPr>
              <p:cNvPr id="32" name="Picture 31" descr="Info-Tech_Logo_2013-On-Screen-WHITE(transparent-background)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7020272" y="6309320"/>
                <a:ext cx="1697008" cy="339401"/>
              </a:xfrm>
              <a:prstGeom prst="rect">
                <a:avLst/>
              </a:prstGeom>
            </p:spPr>
          </p:pic>
        </p:grpSp>
      </p:grpSp>
      <p:sp>
        <p:nvSpPr>
          <p:cNvPr id="28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solidFill>
                  <a:schemeClr val="bg1"/>
                </a:solidFill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endParaRPr lang="en-CA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3544028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ken Phas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0" y="6090047"/>
            <a:ext cx="9144000" cy="767953"/>
            <a:chOff x="0" y="6090047"/>
            <a:chExt cx="9144000" cy="767953"/>
          </a:xfrm>
        </p:grpSpPr>
        <p:sp>
          <p:nvSpPr>
            <p:cNvPr id="13" name="Rectangle 12"/>
            <p:cNvSpPr/>
            <p:nvPr/>
          </p:nvSpPr>
          <p:spPr>
            <a:xfrm>
              <a:off x="0" y="6090047"/>
              <a:ext cx="6696236" cy="767953"/>
            </a:xfrm>
            <a:prstGeom prst="rect">
              <a:avLst/>
            </a:prstGeom>
            <a:solidFill>
              <a:srgbClr val="2947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800" dirty="0">
                  <a:solidFill>
                    <a:srgbClr val="ADB7C3"/>
                  </a:solidFill>
                </a:rPr>
                <a:t>Info-Tech Research Group, Inc. is a global leader in providing IT research and advice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Info-Tech’s products and services combine actionable insight and relevant advice with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ready-to-use tools and templates that cover the full spectrum of IT concerns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© 1997-2018 Info-Tech Research Group Inc.</a:t>
              </a:r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6696236" y="6090047"/>
              <a:ext cx="2447764" cy="767953"/>
              <a:chOff x="6696236" y="6090047"/>
              <a:chExt cx="2447764" cy="767953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6696236" y="6090047"/>
                <a:ext cx="2447764" cy="767953"/>
              </a:xfrm>
              <a:prstGeom prst="rect">
                <a:avLst/>
              </a:prstGeom>
              <a:solidFill>
                <a:srgbClr val="29475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800" dirty="0">
                  <a:solidFill>
                    <a:srgbClr val="ADB7C3"/>
                  </a:solidFill>
                </a:endParaRPr>
              </a:p>
            </p:txBody>
          </p:sp>
          <p:pic>
            <p:nvPicPr>
              <p:cNvPr id="16" name="Picture 15" descr="Info-Tech_Logo_2013-On-Screen-WHITE(transparent-background)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7020272" y="6309320"/>
                <a:ext cx="1697008" cy="339401"/>
              </a:xfrm>
              <a:prstGeom prst="rect">
                <a:avLst/>
              </a:prstGeom>
            </p:spPr>
          </p:pic>
        </p:grpSp>
      </p:grpSp>
      <p:cxnSp>
        <p:nvCxnSpPr>
          <p:cNvPr id="17" name="Straight Connector 16"/>
          <p:cNvCxnSpPr/>
          <p:nvPr userDrawn="1"/>
        </p:nvCxnSpPr>
        <p:spPr>
          <a:xfrm>
            <a:off x="789414" y="3320114"/>
            <a:ext cx="2490117" cy="0"/>
          </a:xfrm>
          <a:prstGeom prst="line">
            <a:avLst/>
          </a:prstGeom>
          <a:ln w="254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/>
          <p:cNvSpPr/>
          <p:nvPr userDrawn="1"/>
        </p:nvSpPr>
        <p:spPr>
          <a:xfrm>
            <a:off x="2791118" y="2568440"/>
            <a:ext cx="786842" cy="7868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5400" b="1" dirty="0">
              <a:solidFill>
                <a:schemeClr val="accent1"/>
              </a:solidFill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88988" y="3355975"/>
            <a:ext cx="7269162" cy="663575"/>
          </a:xfrm>
        </p:spPr>
        <p:txBody>
          <a:bodyPr/>
          <a:lstStyle>
            <a:lvl1pPr marL="0" indent="0">
              <a:buNone/>
              <a:defRPr sz="28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CA" sz="2800"/>
              <a:t>Replace with Phase Title</a:t>
            </a:r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63035" y="2585841"/>
            <a:ext cx="2036776" cy="769441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CA" sz="4400" b="1" dirty="0">
                <a:solidFill>
                  <a:schemeClr val="accent1"/>
                </a:solidFill>
              </a:rPr>
              <a:t>PHASE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794014" y="2576893"/>
            <a:ext cx="781050" cy="769937"/>
          </a:xfrm>
        </p:spPr>
        <p:txBody>
          <a:bodyPr anchor="ctr"/>
          <a:lstStyle>
            <a:lvl1pPr marL="0" indent="0" algn="ctr">
              <a:buNone/>
              <a:defRPr sz="5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CA" sz="5400"/>
              <a:t>#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78396" y="5622172"/>
            <a:ext cx="7289719" cy="457200"/>
          </a:xfrm>
        </p:spPr>
        <p:txBody>
          <a:bodyPr/>
          <a:lstStyle>
            <a:lvl1pPr marL="0" indent="0" algn="r"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CA"/>
              <a:t>Blueprint Title</a:t>
            </a:r>
          </a:p>
        </p:txBody>
      </p:sp>
    </p:spTree>
    <p:extLst>
      <p:ext uri="{BB962C8B-B14F-4D97-AF65-F5344CB8AC3E}">
        <p14:creationId xmlns:p14="http://schemas.microsoft.com/office/powerpoint/2010/main" val="2129235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lide extra">
    <p:bg>
      <p:bgPr>
        <a:solidFill>
          <a:srgbClr val="CBDB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 userDrawn="1"/>
        </p:nvGrpSpPr>
        <p:grpSpPr>
          <a:xfrm>
            <a:off x="8198606" y="145554"/>
            <a:ext cx="812044" cy="804512"/>
            <a:chOff x="6986062" y="224644"/>
            <a:chExt cx="731520" cy="731520"/>
          </a:xfrm>
        </p:grpSpPr>
        <p:sp>
          <p:nvSpPr>
            <p:cNvPr id="5" name="Rectangle 4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9" name="Title 2"/>
          <p:cNvSpPr txBox="1">
            <a:spLocks/>
          </p:cNvSpPr>
          <p:nvPr userDrawn="1"/>
        </p:nvSpPr>
        <p:spPr bwMode="auto">
          <a:xfrm>
            <a:off x="251520" y="219704"/>
            <a:ext cx="8625780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dirty="0">
                <a:solidFill>
                  <a:srgbClr val="333333"/>
                </a:solidFill>
              </a:rPr>
              <a:t>If you want additional support, have our analysts guide </a:t>
            </a:r>
            <a:br>
              <a:rPr lang="en-US" dirty="0">
                <a:solidFill>
                  <a:srgbClr val="333333"/>
                </a:solidFill>
              </a:rPr>
            </a:br>
            <a:r>
              <a:rPr lang="en-US" dirty="0">
                <a:solidFill>
                  <a:srgbClr val="333333"/>
                </a:solidFill>
              </a:rPr>
              <a:t>you through this phase as part of an Info-Tech workshop</a:t>
            </a: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57182" y="1068995"/>
            <a:ext cx="8676000" cy="307777"/>
          </a:xfrm>
          <a:prstGeom prst="rect">
            <a:avLst/>
          </a:prstGeom>
          <a:solidFill>
            <a:srgbClr val="243F54"/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Book a workshop with our Info-Tech analysts:</a:t>
            </a:r>
          </a:p>
        </p:txBody>
      </p:sp>
    </p:spTree>
    <p:extLst>
      <p:ext uri="{BB962C8B-B14F-4D97-AF65-F5344CB8AC3E}">
        <p14:creationId xmlns:p14="http://schemas.microsoft.com/office/powerpoint/2010/main" val="82416060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277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 -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General slide</a:t>
            </a:r>
            <a:endParaRPr lang="en-CA"/>
          </a:p>
        </p:txBody>
      </p:sp>
      <p:sp>
        <p:nvSpPr>
          <p:cNvPr id="3" name="Rectangle 6"/>
          <p:cNvSpPr/>
          <p:nvPr userDrawn="1"/>
        </p:nvSpPr>
        <p:spPr>
          <a:xfrm>
            <a:off x="0" y="1133475"/>
            <a:ext cx="2767476" cy="15374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5400" dist="12700" dir="2700000" algn="ctr" rotWithShape="0">
              <a:srgbClr val="000000">
                <a:alpha val="1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2576B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93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y Sid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68307" y="1133479"/>
            <a:ext cx="2816386" cy="5171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2576B7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57176" y="255592"/>
            <a:ext cx="5811131" cy="87788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General slid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6686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537960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0" y="6090046"/>
            <a:ext cx="9144000" cy="767954"/>
            <a:chOff x="0" y="6090046"/>
            <a:chExt cx="9144000" cy="767954"/>
          </a:xfrm>
        </p:grpSpPr>
        <p:sp>
          <p:nvSpPr>
            <p:cNvPr id="29" name="Rectangle 28"/>
            <p:cNvSpPr/>
            <p:nvPr/>
          </p:nvSpPr>
          <p:spPr>
            <a:xfrm>
              <a:off x="0" y="6090046"/>
              <a:ext cx="6696236" cy="767953"/>
            </a:xfrm>
            <a:prstGeom prst="rect">
              <a:avLst/>
            </a:prstGeom>
            <a:solidFill>
              <a:srgbClr val="2947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800" dirty="0">
                  <a:solidFill>
                    <a:srgbClr val="ADB7C3"/>
                  </a:solidFill>
                </a:rPr>
                <a:t>Info-Tech Research Group, Inc. is a global leader in providing IT research and advice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Info-Tech’s products and services combine actionable insight and relevant advice with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ready-to-use tools and templates that cover the full spectrum of IT concerns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© 1997-2019 Info-Tech Research Group Inc.</a:t>
              </a:r>
            </a:p>
          </p:txBody>
        </p:sp>
        <p:grpSp>
          <p:nvGrpSpPr>
            <p:cNvPr id="2" name="Group 1"/>
            <p:cNvGrpSpPr/>
            <p:nvPr userDrawn="1"/>
          </p:nvGrpSpPr>
          <p:grpSpPr>
            <a:xfrm>
              <a:off x="6696236" y="6090047"/>
              <a:ext cx="2447764" cy="767953"/>
              <a:chOff x="6696236" y="6090047"/>
              <a:chExt cx="2447764" cy="767953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6696236" y="6090047"/>
                <a:ext cx="2447764" cy="767953"/>
              </a:xfrm>
              <a:prstGeom prst="rect">
                <a:avLst/>
              </a:prstGeom>
              <a:solidFill>
                <a:srgbClr val="29475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800" dirty="0">
                  <a:solidFill>
                    <a:srgbClr val="ADB7C3"/>
                  </a:solidFill>
                </a:endParaRPr>
              </a:p>
            </p:txBody>
          </p:sp>
          <p:pic>
            <p:nvPicPr>
              <p:cNvPr id="32" name="Picture 31" descr="Info-Tech_Logo_2013-On-Screen-WHITE(transparent-background)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7020272" y="6309320"/>
                <a:ext cx="1697008" cy="339401"/>
              </a:xfrm>
              <a:prstGeom prst="rect">
                <a:avLst/>
              </a:prstGeom>
            </p:spPr>
          </p:pic>
        </p:grpSp>
      </p:grpSp>
      <p:sp>
        <p:nvSpPr>
          <p:cNvPr id="28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solidFill>
                  <a:schemeClr val="bg1"/>
                </a:solidFill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endParaRPr lang="en-CA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3416301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Executive Brief slid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000650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age header</a:t>
            </a:r>
            <a:endParaRPr lang="en-CA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ssist: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lso Assist: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Them:</a:t>
            </a:r>
          </a:p>
        </p:txBody>
      </p:sp>
    </p:spTree>
    <p:extLst>
      <p:ext uri="{BB962C8B-B14F-4D97-AF65-F5344CB8AC3E}">
        <p14:creationId xmlns:p14="http://schemas.microsoft.com/office/powerpoint/2010/main" val="3617781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latinLnBrk="0"/>
            <a:r>
              <a:rPr lang="en-US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chemeClr val="accent1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hree section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566164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2"/>
          </p:nvPr>
        </p:nvSpPr>
        <p:spPr>
          <a:xfrm>
            <a:off x="261455" y="3323354"/>
            <a:ext cx="8615844" cy="320040"/>
          </a:xfrm>
          <a:solidFill>
            <a:srgbClr val="243F54"/>
          </a:solidFill>
        </p:spPr>
        <p:txBody>
          <a:bodyPr/>
          <a:lstStyle>
            <a:lvl1pPr marL="0" indent="0">
              <a:defRPr sz="1400" b="1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Deliverables Completed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4612662" y="1210647"/>
            <a:ext cx="4267532" cy="320040"/>
          </a:xfrm>
          <a:solidFill>
            <a:srgbClr val="243F54"/>
          </a:solidFill>
        </p:spPr>
        <p:txBody>
          <a:bodyPr/>
          <a:lstStyle>
            <a:lvl1pPr marL="0" indent="0">
              <a:defRPr sz="1400" b="1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Processes Optimized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0"/>
          </p:nvPr>
        </p:nvSpPr>
        <p:spPr>
          <a:xfrm>
            <a:off x="257727" y="1210647"/>
            <a:ext cx="4267532" cy="320040"/>
          </a:xfrm>
          <a:solidFill>
            <a:srgbClr val="243F54"/>
          </a:solidFill>
        </p:spPr>
        <p:txBody>
          <a:bodyPr/>
          <a:lstStyle>
            <a:lvl1pPr marL="0" indent="0">
              <a:defRPr sz="1400" b="1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Knowledge Gain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wo small sections, one lar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0808" y="3376524"/>
            <a:ext cx="215115" cy="2151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1110" y="1253022"/>
            <a:ext cx="194813" cy="2255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6998" y="1268794"/>
            <a:ext cx="139535" cy="19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264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Executive Brief slid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368876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669639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31881954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68871" y="1708920"/>
            <a:ext cx="8601189" cy="0"/>
          </a:xfrm>
          <a:prstGeom prst="line">
            <a:avLst/>
          </a:prstGeom>
          <a:ln w="193675">
            <a:solidFill>
              <a:schemeClr val="bg1"/>
            </a:solidFill>
          </a:ln>
          <a:effectLst>
            <a:outerShdw blurRad="190500" dist="76200" dir="5400000" sx="97000" sy="97000" algn="tl" rotWithShape="0">
              <a:prstClr val="black">
                <a:alpha val="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56032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ase study 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980583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ken Phas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0" y="6090047"/>
            <a:ext cx="9144000" cy="767953"/>
            <a:chOff x="0" y="6090047"/>
            <a:chExt cx="9144000" cy="767953"/>
          </a:xfrm>
        </p:grpSpPr>
        <p:sp>
          <p:nvSpPr>
            <p:cNvPr id="13" name="Rectangle 12"/>
            <p:cNvSpPr/>
            <p:nvPr/>
          </p:nvSpPr>
          <p:spPr>
            <a:xfrm>
              <a:off x="0" y="6090047"/>
              <a:ext cx="6696236" cy="767953"/>
            </a:xfrm>
            <a:prstGeom prst="rect">
              <a:avLst/>
            </a:prstGeom>
            <a:solidFill>
              <a:srgbClr val="2947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800" dirty="0">
                  <a:solidFill>
                    <a:srgbClr val="ADB7C3"/>
                  </a:solidFill>
                </a:rPr>
                <a:t>Info-Tech Research Group, Inc. is a global leader in providing IT research and advice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Info-Tech’s products and services combine actionable insight and relevant advice with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ready-to-use tools and templates that cover the full spectrum of IT concerns.</a:t>
              </a:r>
              <a:br>
                <a:rPr lang="en-CA" sz="800" dirty="0">
                  <a:solidFill>
                    <a:srgbClr val="ADB7C3"/>
                  </a:solidFill>
                </a:rPr>
              </a:br>
              <a:r>
                <a:rPr lang="en-CA" sz="800" dirty="0">
                  <a:solidFill>
                    <a:srgbClr val="ADB7C3"/>
                  </a:solidFill>
                </a:rPr>
                <a:t>© 1997-2019 Info-Tech Research Group Inc.</a:t>
              </a:r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6696236" y="6090047"/>
              <a:ext cx="2447764" cy="767953"/>
              <a:chOff x="6696236" y="6090047"/>
              <a:chExt cx="2447764" cy="767953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6696236" y="6090047"/>
                <a:ext cx="2447764" cy="767953"/>
              </a:xfrm>
              <a:prstGeom prst="rect">
                <a:avLst/>
              </a:prstGeom>
              <a:solidFill>
                <a:srgbClr val="29475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800" dirty="0">
                  <a:solidFill>
                    <a:srgbClr val="ADB7C3"/>
                  </a:solidFill>
                </a:endParaRPr>
              </a:p>
            </p:txBody>
          </p:sp>
          <p:pic>
            <p:nvPicPr>
              <p:cNvPr id="16" name="Picture 15" descr="Info-Tech_Logo_2013-On-Screen-WHITE(transparent-background)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7020272" y="6309320"/>
                <a:ext cx="1697008" cy="339401"/>
              </a:xfrm>
              <a:prstGeom prst="rect">
                <a:avLst/>
              </a:prstGeom>
            </p:spPr>
          </p:pic>
        </p:grpSp>
      </p:grpSp>
      <p:cxnSp>
        <p:nvCxnSpPr>
          <p:cNvPr id="17" name="Straight Connector 16"/>
          <p:cNvCxnSpPr/>
          <p:nvPr userDrawn="1"/>
        </p:nvCxnSpPr>
        <p:spPr>
          <a:xfrm>
            <a:off x="789414" y="3320114"/>
            <a:ext cx="2490117" cy="0"/>
          </a:xfrm>
          <a:prstGeom prst="line">
            <a:avLst/>
          </a:prstGeom>
          <a:ln w="254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/>
          <p:cNvSpPr/>
          <p:nvPr userDrawn="1"/>
        </p:nvSpPr>
        <p:spPr>
          <a:xfrm>
            <a:off x="2791118" y="2568440"/>
            <a:ext cx="786842" cy="7868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5400" b="1" dirty="0">
              <a:solidFill>
                <a:srgbClr val="29475F"/>
              </a:solidFill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88988" y="3355975"/>
            <a:ext cx="7269162" cy="663575"/>
          </a:xfrm>
        </p:spPr>
        <p:txBody>
          <a:bodyPr/>
          <a:lstStyle>
            <a:lvl1pPr marL="0" indent="0">
              <a:buNone/>
              <a:defRPr sz="28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CA" sz="2800"/>
              <a:t>Replace with Phase Title</a:t>
            </a:r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63035" y="2585841"/>
            <a:ext cx="2036776" cy="769441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CA" sz="4400" b="1" dirty="0">
                <a:solidFill>
                  <a:srgbClr val="29475F"/>
                </a:solidFill>
              </a:rPr>
              <a:t>PHASE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794014" y="2576893"/>
            <a:ext cx="781050" cy="769937"/>
          </a:xfrm>
        </p:spPr>
        <p:txBody>
          <a:bodyPr anchor="ctr"/>
          <a:lstStyle>
            <a:lvl1pPr marL="0" indent="0" algn="ctr">
              <a:buNone/>
              <a:defRPr sz="5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CA" sz="5400"/>
              <a:t>#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78396" y="5622172"/>
            <a:ext cx="7289719" cy="457200"/>
          </a:xfrm>
        </p:spPr>
        <p:txBody>
          <a:bodyPr/>
          <a:lstStyle>
            <a:lvl1pPr marL="0" indent="0" algn="r"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CA"/>
              <a:t>Blueprint Title</a:t>
            </a:r>
          </a:p>
        </p:txBody>
      </p:sp>
    </p:spTree>
    <p:extLst>
      <p:ext uri="{BB962C8B-B14F-4D97-AF65-F5344CB8AC3E}">
        <p14:creationId xmlns:p14="http://schemas.microsoft.com/office/powerpoint/2010/main" val="25077192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lide extra">
    <p:bg>
      <p:bgPr>
        <a:solidFill>
          <a:srgbClr val="CBDB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 userDrawn="1"/>
        </p:nvGrpSpPr>
        <p:grpSpPr>
          <a:xfrm>
            <a:off x="8198606" y="145554"/>
            <a:ext cx="812044" cy="804512"/>
            <a:chOff x="6986062" y="224644"/>
            <a:chExt cx="731520" cy="731520"/>
          </a:xfrm>
        </p:grpSpPr>
        <p:sp>
          <p:nvSpPr>
            <p:cNvPr id="5" name="Rectangle 4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9" name="Title 2"/>
          <p:cNvSpPr txBox="1">
            <a:spLocks/>
          </p:cNvSpPr>
          <p:nvPr userDrawn="1"/>
        </p:nvSpPr>
        <p:spPr bwMode="auto">
          <a:xfrm>
            <a:off x="251520" y="219704"/>
            <a:ext cx="8625780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dirty="0">
                <a:solidFill>
                  <a:srgbClr val="333333"/>
                </a:solidFill>
              </a:rPr>
              <a:t>If you want additional support, have our analysts guide </a:t>
            </a:r>
            <a:br>
              <a:rPr lang="en-US" dirty="0">
                <a:solidFill>
                  <a:srgbClr val="333333"/>
                </a:solidFill>
              </a:rPr>
            </a:br>
            <a:r>
              <a:rPr lang="en-US" dirty="0">
                <a:solidFill>
                  <a:srgbClr val="333333"/>
                </a:solidFill>
              </a:rPr>
              <a:t>you through this phase as part of an Info-Tech workshop</a:t>
            </a: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57182" y="1068995"/>
            <a:ext cx="8676000" cy="307777"/>
          </a:xfrm>
          <a:prstGeom prst="rect">
            <a:avLst/>
          </a:prstGeom>
          <a:solidFill>
            <a:srgbClr val="243F54"/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Book a workshop with our Info-Tech analysts:</a:t>
            </a:r>
          </a:p>
        </p:txBody>
      </p:sp>
    </p:spTree>
    <p:extLst>
      <p:ext uri="{BB962C8B-B14F-4D97-AF65-F5344CB8AC3E}">
        <p14:creationId xmlns:p14="http://schemas.microsoft.com/office/powerpoint/2010/main" val="2499878440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83651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y Sid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68307" y="1133479"/>
            <a:ext cx="2816386" cy="5171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2576B7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57176" y="255592"/>
            <a:ext cx="5811131" cy="87788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General slid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694187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 -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6" y="255592"/>
            <a:ext cx="2495965" cy="87788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General slid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970999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ecutive Brief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442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Executive Brief slid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84022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age header</a:t>
            </a:r>
            <a:endParaRPr lang="en-CA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Assist: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pt)</a:t>
            </a:r>
          </a:p>
          <a:p>
            <a:pPr lvl="1"/>
            <a:r>
              <a:rPr lang="en-US"/>
              <a:t>Second Level (Arial, 14pt)</a:t>
            </a:r>
          </a:p>
          <a:p>
            <a:pPr lvl="2"/>
            <a:r>
              <a:rPr lang="en-US"/>
              <a:t>Third Level (Arial, 14pt)</a:t>
            </a:r>
          </a:p>
          <a:p>
            <a:pPr lvl="3"/>
            <a:r>
              <a:rPr lang="en-US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Also Assist: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b="1" dirty="0"/>
              <a:t>This Research Will Help Them:</a:t>
            </a:r>
          </a:p>
        </p:txBody>
      </p:sp>
    </p:spTree>
    <p:extLst>
      <p:ext uri="{BB962C8B-B14F-4D97-AF65-F5344CB8AC3E}">
        <p14:creationId xmlns:p14="http://schemas.microsoft.com/office/powerpoint/2010/main" val="814660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latinLnBrk="0"/>
            <a:r>
              <a:rPr lang="en-US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chemeClr val="accent1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hree section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56219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2"/>
          </p:nvPr>
        </p:nvSpPr>
        <p:spPr>
          <a:xfrm>
            <a:off x="261455" y="3323354"/>
            <a:ext cx="8615844" cy="320040"/>
          </a:xfrm>
          <a:solidFill>
            <a:srgbClr val="243F54"/>
          </a:solidFill>
        </p:spPr>
        <p:txBody>
          <a:bodyPr/>
          <a:lstStyle>
            <a:lvl1pPr marL="0" indent="0">
              <a:defRPr sz="1400" b="1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Deliverables Completed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4612662" y="1210647"/>
            <a:ext cx="4267532" cy="320040"/>
          </a:xfrm>
          <a:solidFill>
            <a:srgbClr val="243F54"/>
          </a:solidFill>
        </p:spPr>
        <p:txBody>
          <a:bodyPr/>
          <a:lstStyle>
            <a:lvl1pPr marL="0" indent="0">
              <a:defRPr sz="1400" b="1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Processes Optimized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0"/>
          </p:nvPr>
        </p:nvSpPr>
        <p:spPr>
          <a:xfrm>
            <a:off x="257727" y="1210647"/>
            <a:ext cx="4267532" cy="320040"/>
          </a:xfrm>
          <a:solidFill>
            <a:srgbClr val="243F54"/>
          </a:solidFill>
        </p:spPr>
        <p:txBody>
          <a:bodyPr/>
          <a:lstStyle>
            <a:lvl1pPr marL="0" indent="0">
              <a:defRPr sz="1400" b="1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Knowledge Gain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wo small sections, one lar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0808" y="3376524"/>
            <a:ext cx="215115" cy="2151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1110" y="1253022"/>
            <a:ext cx="194813" cy="2255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6998" y="1268794"/>
            <a:ext cx="139535" cy="19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063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77908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4110989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239209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68871" y="1708920"/>
            <a:ext cx="8601189" cy="0"/>
          </a:xfrm>
          <a:prstGeom prst="line">
            <a:avLst/>
          </a:prstGeom>
          <a:ln w="193675">
            <a:solidFill>
              <a:schemeClr val="bg1"/>
            </a:solidFill>
          </a:ln>
          <a:effectLst>
            <a:outerShdw blurRad="190500" dist="76200" dir="5400000" sx="97000" sy="97000" algn="tl" rotWithShape="0">
              <a:prstClr val="black">
                <a:alpha val="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56032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ase study 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24518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marR="0" lv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235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65" r:id="rId2"/>
    <p:sldLayoutId id="2147483706" r:id="rId3"/>
    <p:sldLayoutId id="2147483710" r:id="rId4"/>
    <p:sldLayoutId id="2147483711" r:id="rId5"/>
    <p:sldLayoutId id="2147483699" r:id="rId6"/>
    <p:sldLayoutId id="2147483702" r:id="rId7"/>
    <p:sldLayoutId id="2147483726" r:id="rId8"/>
    <p:sldLayoutId id="2147483764" r:id="rId9"/>
    <p:sldLayoutId id="2147483761" r:id="rId10"/>
    <p:sldLayoutId id="2147483763" r:id="rId11"/>
    <p:sldLayoutId id="2147483769" r:id="rId12"/>
    <p:sldLayoutId id="2147483812" r:id="rId13"/>
    <p:sldLayoutId id="2147483822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kern="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1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7" r:id="rId11"/>
    <p:sldLayoutId id="2147483809" r:id="rId12"/>
    <p:sldLayoutId id="2147483810" r:id="rId13"/>
    <p:sldLayoutId id="2147483829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tech.com/research/build-a-service-support-strategy-phases-1-3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.png"/><Relationship Id="rId4" Type="http://schemas.openxmlformats.org/officeDocument/2006/relationships/image" Target="../media/image7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6.pn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fotech.com/research/ss/establish-the-benefits-realization-process" TargetMode="External"/><Relationship Id="rId13" Type="http://schemas.openxmlformats.org/officeDocument/2006/relationships/hyperlink" Target="https://www.infotech.com/research/ss/build-a-strategic-workforce-plan" TargetMode="External"/><Relationship Id="rId18" Type="http://schemas.openxmlformats.org/officeDocument/2006/relationships/hyperlink" Target="https://www.infotech.com/research/ss/create-a-service-management-roadmap" TargetMode="External"/><Relationship Id="rId26" Type="http://schemas.openxmlformats.org/officeDocument/2006/relationships/hyperlink" Target="https://www.infotech.com/research/ss/build-a-business-driven-it-risk-management-program" TargetMode="External"/><Relationship Id="rId39" Type="http://schemas.openxmlformats.org/officeDocument/2006/relationships/hyperlink" Target="https://www.infotech.com/research/ss/optimize-your-sqa-practice-using-a-full-lifecycle-approach" TargetMode="External"/><Relationship Id="rId3" Type="http://schemas.openxmlformats.org/officeDocument/2006/relationships/hyperlink" Target="https://www.infotech.com/research/ss/redesign-it-governance-to-drive-optimal-business-results" TargetMode="External"/><Relationship Id="rId21" Type="http://schemas.openxmlformats.org/officeDocument/2006/relationships/hyperlink" Target="https://www.infotech.com/research/ss/implement-it-asset-management" TargetMode="External"/><Relationship Id="rId34" Type="http://schemas.openxmlformats.org/officeDocument/2006/relationships/hyperlink" Target="https://www.infotech.com/research/ss/it-develop-a-business-continuity-plan" TargetMode="External"/><Relationship Id="rId42" Type="http://schemas.openxmlformats.org/officeDocument/2006/relationships/hyperlink" Target="https://www.infotech.com/research/ss/build-a-next-generation-bi-with-a-game-changing-bi-strategy" TargetMode="External"/><Relationship Id="rId47" Type="http://schemas.openxmlformats.org/officeDocument/2006/relationships/hyperlink" Target="https://www.infotech.com/research/ss/build-a-strong-approach-to-business-requirements-gathering" TargetMode="External"/><Relationship Id="rId7" Type="http://schemas.openxmlformats.org/officeDocument/2006/relationships/hyperlink" Target="https://www.infotech.com/research/ss/take-the-pain-out-of-it-policies" TargetMode="External"/><Relationship Id="rId12" Type="http://schemas.openxmlformats.org/officeDocument/2006/relationships/hyperlink" Target="https://www.infotech.com/research/ss/minimize-the-damage-of-it-cost-cuts" TargetMode="External"/><Relationship Id="rId17" Type="http://schemas.openxmlformats.org/officeDocument/2006/relationships/hyperlink" Target="https://www.infotech.com/research/ss/assess-and-optimize-ea-capability" TargetMode="External"/><Relationship Id="rId25" Type="http://schemas.openxmlformats.org/officeDocument/2006/relationships/hyperlink" Target="https://www.infotech.com/research/ss/standardize-the-service-desk" TargetMode="External"/><Relationship Id="rId33" Type="http://schemas.openxmlformats.org/officeDocument/2006/relationships/hyperlink" Target="https://www.infotech.com/research/ss/take-control-of-compliance-improvement-to-conquer-every-audit" TargetMode="External"/><Relationship Id="rId38" Type="http://schemas.openxmlformats.org/officeDocument/2006/relationships/hyperlink" Target="https://www.infotech.com/research/ss/create-a-horizontally-optimized-sdlc-to-better-meet-business-demands" TargetMode="External"/><Relationship Id="rId46" Type="http://schemas.openxmlformats.org/officeDocument/2006/relationships/hyperlink" Target="https://www.infotech.com/research/ss/tailor-project-management-processes-to-fit-your-projects" TargetMode="External"/><Relationship Id="rId2" Type="http://schemas.openxmlformats.org/officeDocument/2006/relationships/image" Target="../media/image27.png"/><Relationship Id="rId16" Type="http://schemas.openxmlformats.org/officeDocument/2006/relationships/hyperlink" Target="https://www.infotech.com/research/ss/design-build-a-user-facing-service-catalog" TargetMode="External"/><Relationship Id="rId20" Type="http://schemas.openxmlformats.org/officeDocument/2006/relationships/hyperlink" Target="https://www.infotech.com/research/ss/establish-a-program-to-enable-effective-performance-monitoring" TargetMode="External"/><Relationship Id="rId29" Type="http://schemas.openxmlformats.org/officeDocument/2006/relationships/hyperlink" Target="https://www.infotech.com/research/ss/establish-a-right-sized-release-and-deployment-management-process" TargetMode="External"/><Relationship Id="rId41" Type="http://schemas.openxmlformats.org/officeDocument/2006/relationships/hyperlink" Target="https://www.infotech.com/research/ss/drive-organizational-change-from-the-pmo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infotech.com/research/ss/kick-start-it-led-business-innovation" TargetMode="External"/><Relationship Id="rId11" Type="http://schemas.openxmlformats.org/officeDocument/2006/relationships/hyperlink" Target="https://www.infotech.com/research/ss/transfer-it-knowledge-before-it-s-gone" TargetMode="External"/><Relationship Id="rId24" Type="http://schemas.openxmlformats.org/officeDocument/2006/relationships/hyperlink" Target="https://www.infotech.com/research/ss/create-a-configuration-management-roadmap" TargetMode="External"/><Relationship Id="rId32" Type="http://schemas.openxmlformats.org/officeDocument/2006/relationships/hyperlink" Target="https://www.infotech.com/research/ss/establish-an-effective-system-of-internal-it-controls-to-mitigate-risks" TargetMode="External"/><Relationship Id="rId37" Type="http://schemas.openxmlformats.org/officeDocument/2006/relationships/hyperlink" Target="https://www.infotech.com/research/ss/govern-and-manage-an-enterprise-software-implementation" TargetMode="External"/><Relationship Id="rId40" Type="http://schemas.openxmlformats.org/officeDocument/2006/relationships/hyperlink" Target="https://www.infotech.com/research/ss/develop-an-annual-maintenance-program-for-critical-applications" TargetMode="External"/><Relationship Id="rId45" Type="http://schemas.openxmlformats.org/officeDocument/2006/relationships/hyperlink" Target="https://www.infotech.com/research/ss/develop-a-project-portfolio-management-strategy" TargetMode="External"/><Relationship Id="rId5" Type="http://schemas.openxmlformats.org/officeDocument/2006/relationships/hyperlink" Target="https://www.infotech.com/research/ss/develop-meaningful-service-metrics-to-ensure-business-and-user-satisfaction" TargetMode="External"/><Relationship Id="rId15" Type="http://schemas.openxmlformats.org/officeDocument/2006/relationships/hyperlink" Target="https://www.infotech.com/research/ss/increase-it-productivity-by-25-by-actively-focusing-on-employee-engagement" TargetMode="External"/><Relationship Id="rId23" Type="http://schemas.openxmlformats.org/officeDocument/2006/relationships/hyperlink" Target="https://www.infotech.com/research/ss/optimize-change-management" TargetMode="External"/><Relationship Id="rId28" Type="http://schemas.openxmlformats.org/officeDocument/2006/relationships/hyperlink" Target="https://www.infotech.com/research/ss/build-a-security-governance-and-management-plan" TargetMode="External"/><Relationship Id="rId36" Type="http://schemas.openxmlformats.org/officeDocument/2006/relationships/hyperlink" Target="https://www.infotech.com/research/ss/build-a-business-driven-application-roadmap-using-an-agile-approach" TargetMode="External"/><Relationship Id="rId10" Type="http://schemas.openxmlformats.org/officeDocument/2006/relationships/hyperlink" Target="https://www.infotech.com/research/ss/manage-your-vendors-before-they-manage-you" TargetMode="External"/><Relationship Id="rId19" Type="http://schemas.openxmlformats.org/officeDocument/2006/relationships/hyperlink" Target="https://www.infotech.com/research/ss/drive-efficiency-and-agility-with-a-fit-for-purpose-quality-management-program" TargetMode="External"/><Relationship Id="rId31" Type="http://schemas.openxmlformats.org/officeDocument/2006/relationships/hyperlink" Target="https://www.infotech.com/research/ss/build-an-information-security-strategy" TargetMode="External"/><Relationship Id="rId44" Type="http://schemas.openxmlformats.org/officeDocument/2006/relationships/hyperlink" Target="https://www.infotech.com/research/ss/conquer-data-quality-challenges-in-4-steps" TargetMode="External"/><Relationship Id="rId4" Type="http://schemas.openxmlformats.org/officeDocument/2006/relationships/hyperlink" Target="https://www.infotech.com/research/ss/define-an-it-strategy-and-roadmap" TargetMode="External"/><Relationship Id="rId9" Type="http://schemas.openxmlformats.org/officeDocument/2006/relationships/hyperlink" Target="https://www.infotech.com/research/ss/build-an-it-budget-that-demonstrates-value-delivery" TargetMode="External"/><Relationship Id="rId14" Type="http://schemas.openxmlformats.org/officeDocument/2006/relationships/hyperlink" Target="https://www.infotech.com/research/ss/transform-it-through-strategic-organizational-design" TargetMode="External"/><Relationship Id="rId22" Type="http://schemas.openxmlformats.org/officeDocument/2006/relationships/hyperlink" Target="https://www.infotech.com/research/ss/improve-it-operations-management" TargetMode="External"/><Relationship Id="rId27" Type="http://schemas.openxmlformats.org/officeDocument/2006/relationships/hyperlink" Target="https://www.infotech.com/research/ss/manage-stakeholder-relations" TargetMode="External"/><Relationship Id="rId30" Type="http://schemas.openxmlformats.org/officeDocument/2006/relationships/hyperlink" Target="https://www.infotech.com/research/ss/manage-scarce-resources-with-effective-incident-and-problem-management" TargetMode="External"/><Relationship Id="rId35" Type="http://schemas.openxmlformats.org/officeDocument/2006/relationships/hyperlink" Target="https://www.infotech.com/research/ss/create-a-right-sized-disaster-recovery-plan" TargetMode="External"/><Relationship Id="rId43" Type="http://schemas.openxmlformats.org/officeDocument/2006/relationships/hyperlink" Target="https://www.infotech.com/research/ss/modernize-data-architecture-for-measurable-business-result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fotech.com/research/ss/create-a-service-management-roadmap" TargetMode="External"/><Relationship Id="rId3" Type="http://schemas.openxmlformats.org/officeDocument/2006/relationships/hyperlink" Target="https://www.infotech.com/benchmarking/cio-business-vision" TargetMode="External"/><Relationship Id="rId7" Type="http://schemas.openxmlformats.org/officeDocument/2006/relationships/hyperlink" Target="https://www.infotech.com/research/ss/outsource-the-service-desk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infotech.com/benchmarking/enduser-satisfaction" TargetMode="External"/><Relationship Id="rId11" Type="http://schemas.openxmlformats.org/officeDocument/2006/relationships/hyperlink" Target="https://www.infotech.com/research/ss/rapidly-develop-a-visual-it-strategy" TargetMode="External"/><Relationship Id="rId5" Type="http://schemas.openxmlformats.org/officeDocument/2006/relationships/hyperlink" Target="http://www.infotech.com/research/ss/build-a-continual-improvement-plan-for-the-service-desk" TargetMode="External"/><Relationship Id="rId10" Type="http://schemas.openxmlformats.org/officeDocument/2006/relationships/hyperlink" Target="https://www.infotech.com/research/ss/build-an-it-strategy-for-the-small-enterprise#preview_download_modal" TargetMode="External"/><Relationship Id="rId4" Type="http://schemas.openxmlformats.org/officeDocument/2006/relationships/hyperlink" Target="https://www.infotech.com/research/ss/standardize-the-service-desk" TargetMode="External"/><Relationship Id="rId9" Type="http://schemas.openxmlformats.org/officeDocument/2006/relationships/hyperlink" Target="https://www.infotech.com/diagnostic/programs/it-management-governance-diagnostic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png"/><Relationship Id="rId4" Type="http://schemas.openxmlformats.org/officeDocument/2006/relationships/hyperlink" Target="https://www.infotech.com/research/service-support-strategy-worksheet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84046" y="4215682"/>
            <a:ext cx="6853158" cy="89255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uild a Service Support Strategy</a:t>
            </a:r>
          </a:p>
          <a:p>
            <a:r>
              <a:rPr lang="en-US" sz="1400" dirty="0">
                <a:solidFill>
                  <a:schemeClr val="bg1"/>
                </a:solidFill>
              </a:rPr>
              <a:t>Get service support and the business on the same page.</a:t>
            </a:r>
            <a:endParaRPr lang="en-CA" sz="3600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0" y="5421970"/>
            <a:ext cx="9144000" cy="1455539"/>
            <a:chOff x="0" y="5402461"/>
            <a:chExt cx="9144000" cy="1455539"/>
          </a:xfrm>
        </p:grpSpPr>
        <p:sp>
          <p:nvSpPr>
            <p:cNvPr id="4" name="Rectangle 3"/>
            <p:cNvSpPr/>
            <p:nvPr/>
          </p:nvSpPr>
          <p:spPr>
            <a:xfrm>
              <a:off x="0" y="5402461"/>
              <a:ext cx="9144000" cy="145553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0" y="5402461"/>
              <a:ext cx="9144000" cy="1455539"/>
              <a:chOff x="0" y="5402461"/>
              <a:chExt cx="9144000" cy="1455539"/>
            </a:xfrm>
          </p:grpSpPr>
          <p:pic>
            <p:nvPicPr>
              <p:cNvPr id="6" name="Picture 5" descr="sample-titlebar-itrgNEW.gif">
                <a:hlinkClick r:id="rId3"/>
              </p:cNvPr>
              <p:cNvPicPr>
                <a:picLocks noChangeAspect="1"/>
              </p:cNvPicPr>
              <p:nvPr/>
            </p:nvPicPr>
            <p:blipFill>
              <a:blip r:embed="rId4" cstate="print"/>
              <a:srcRect b="40634"/>
              <a:stretch>
                <a:fillRect/>
              </a:stretch>
            </p:blipFill>
            <p:spPr>
              <a:xfrm>
                <a:off x="0" y="5402461"/>
                <a:ext cx="9144000" cy="864096"/>
              </a:xfrm>
              <a:prstGeom prst="rect">
                <a:avLst/>
              </a:prstGeom>
            </p:spPr>
          </p:pic>
          <p:grpSp>
            <p:nvGrpSpPr>
              <p:cNvPr id="7" name="Group 6"/>
              <p:cNvGrpSpPr/>
              <p:nvPr/>
            </p:nvGrpSpPr>
            <p:grpSpPr>
              <a:xfrm>
                <a:off x="0" y="6266557"/>
                <a:ext cx="9144000" cy="591443"/>
                <a:chOff x="0" y="6266557"/>
                <a:chExt cx="9144000" cy="591443"/>
              </a:xfrm>
            </p:grpSpPr>
            <p:sp>
              <p:nvSpPr>
                <p:cNvPr id="8" name="Rectangle 7"/>
                <p:cNvSpPr/>
                <p:nvPr/>
              </p:nvSpPr>
              <p:spPr>
                <a:xfrm>
                  <a:off x="0" y="6266557"/>
                  <a:ext cx="7308304" cy="591443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74625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sz="8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6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Info-Tech's products and services combine actionable insight and relevant advice with ready-to-use tools</a:t>
                  </a:r>
                  <a:br>
                    <a:rPr kumimoji="0" lang="en-CA" sz="8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6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</a:br>
                  <a:r>
                    <a:rPr kumimoji="0" lang="en-CA" sz="8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6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nd templates that cover the full spectrum of IT concerns.© 1997-2019 Info-Tech Research Group</a:t>
                  </a:r>
                  <a:endParaRPr kumimoji="0" lang="en-CA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6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" name="Rectangle 8"/>
                <p:cNvSpPr/>
                <p:nvPr/>
              </p:nvSpPr>
              <p:spPr>
                <a:xfrm>
                  <a:off x="7308304" y="6266557"/>
                  <a:ext cx="1835696" cy="591443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ctr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A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0" name="Picture 9" descr="itrg-logo-blue.png"/>
                <p:cNvPicPr>
                  <a:picLocks noChangeAspect="1"/>
                </p:cNvPicPr>
                <p:nvPr/>
              </p:nvPicPr>
              <p:blipFill>
                <a:blip r:embed="rId5" cstate="print"/>
                <a:stretch>
                  <a:fillRect/>
                </a:stretch>
              </p:blipFill>
              <p:spPr>
                <a:xfrm>
                  <a:off x="7529512" y="6360368"/>
                  <a:ext cx="1400175" cy="381000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8665874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4"/>
          <a:stretch/>
        </p:blipFill>
        <p:spPr>
          <a:xfrm>
            <a:off x="-26232" y="-1281"/>
            <a:ext cx="9170232" cy="2183166"/>
          </a:xfrm>
          <a:prstGeom prst="rect">
            <a:avLst/>
          </a:prstGeom>
        </p:spPr>
      </p:pic>
      <p:sp>
        <p:nvSpPr>
          <p:cNvPr id="23" name="Oval 22"/>
          <p:cNvSpPr/>
          <p:nvPr/>
        </p:nvSpPr>
        <p:spPr>
          <a:xfrm>
            <a:off x="6265756" y="276487"/>
            <a:ext cx="1400663" cy="1400663"/>
          </a:xfrm>
          <a:prstGeom prst="ellips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1" name="Oval 20"/>
          <p:cNvSpPr/>
          <p:nvPr/>
        </p:nvSpPr>
        <p:spPr>
          <a:xfrm>
            <a:off x="1467734" y="241247"/>
            <a:ext cx="1400400" cy="1400400"/>
          </a:xfrm>
          <a:prstGeom prst="ellips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9" name="Oval 18"/>
          <p:cNvSpPr/>
          <p:nvPr/>
        </p:nvSpPr>
        <p:spPr>
          <a:xfrm>
            <a:off x="3851887" y="203369"/>
            <a:ext cx="1400663" cy="1400663"/>
          </a:xfrm>
          <a:prstGeom prst="ellips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grpSp>
        <p:nvGrpSpPr>
          <p:cNvPr id="28" name="Group 27"/>
          <p:cNvGrpSpPr/>
          <p:nvPr/>
        </p:nvGrpSpPr>
        <p:grpSpPr>
          <a:xfrm>
            <a:off x="1436525" y="664522"/>
            <a:ext cx="6262486" cy="635961"/>
            <a:chOff x="346985" y="645015"/>
            <a:chExt cx="6262486" cy="609792"/>
          </a:xfrm>
        </p:grpSpPr>
        <p:sp>
          <p:nvSpPr>
            <p:cNvPr id="29" name="Isosceles Triangle 12"/>
            <p:cNvSpPr/>
            <p:nvPr/>
          </p:nvSpPr>
          <p:spPr>
            <a:xfrm rot="5400000">
              <a:off x="2021157" y="789212"/>
              <a:ext cx="609792" cy="321397"/>
            </a:xfrm>
            <a:prstGeom prst="triangle">
              <a:avLst/>
            </a:prstGeom>
            <a:solidFill>
              <a:srgbClr val="F6F6F6">
                <a:alpha val="80000"/>
              </a:srgbClr>
            </a:solidFill>
            <a:ln>
              <a:noFill/>
            </a:ln>
            <a:effectLst>
              <a:outerShdw blurRad="12700" dist="127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11"/>
            <p:cNvSpPr/>
            <p:nvPr/>
          </p:nvSpPr>
          <p:spPr>
            <a:xfrm>
              <a:off x="5146654" y="743332"/>
              <a:ext cx="1462817" cy="4131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CA" sz="1100" b="1" dirty="0">
                  <a:solidFill>
                    <a:srgbClr val="FFFFFF"/>
                  </a:solidFill>
                </a:rPr>
                <a:t>Develop Recommendations</a:t>
              </a:r>
            </a:p>
          </p:txBody>
        </p:sp>
        <p:sp>
          <p:nvSpPr>
            <p:cNvPr id="31" name="Rectangle 11"/>
            <p:cNvSpPr/>
            <p:nvPr/>
          </p:nvSpPr>
          <p:spPr>
            <a:xfrm>
              <a:off x="2733660" y="703546"/>
              <a:ext cx="1462817" cy="4131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Assess Current State</a:t>
              </a:r>
              <a:endParaRPr lang="en-CA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1"/>
            <p:cNvSpPr/>
            <p:nvPr/>
          </p:nvSpPr>
          <p:spPr>
            <a:xfrm>
              <a:off x="346985" y="743331"/>
              <a:ext cx="1462817" cy="4131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CA" sz="1100" b="1" dirty="0">
                  <a:solidFill>
                    <a:srgbClr val="FFFFFF"/>
                  </a:solidFill>
                </a:rPr>
                <a:t>Design Target State</a:t>
              </a:r>
            </a:p>
          </p:txBody>
        </p:sp>
        <p:sp>
          <p:nvSpPr>
            <p:cNvPr id="33" name="Isosceles Triangle 12"/>
            <p:cNvSpPr/>
            <p:nvPr/>
          </p:nvSpPr>
          <p:spPr>
            <a:xfrm rot="5400000">
              <a:off x="4381450" y="789212"/>
              <a:ext cx="609792" cy="321397"/>
            </a:xfrm>
            <a:prstGeom prst="triangle">
              <a:avLst/>
            </a:prstGeom>
            <a:solidFill>
              <a:srgbClr val="F6F6F6">
                <a:alpha val="80000"/>
              </a:srgbClr>
            </a:solidFill>
            <a:ln>
              <a:noFill/>
            </a:ln>
            <a:effectLst>
              <a:outerShdw blurRad="12700" dist="127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237767"/>
              </p:ext>
            </p:extLst>
          </p:nvPr>
        </p:nvGraphicFramePr>
        <p:xfrm>
          <a:off x="0" y="2074388"/>
          <a:ext cx="9144000" cy="4462213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9144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535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216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800" dirty="0"/>
                        <a:t>What is a</a:t>
                      </a:r>
                      <a:r>
                        <a:rPr lang="en-CA" sz="1800" baseline="0" dirty="0"/>
                        <a:t> service support </a:t>
                      </a:r>
                      <a:r>
                        <a:rPr lang="en-CA" sz="1800" dirty="0"/>
                        <a:t>strategy?</a:t>
                      </a:r>
                      <a:endParaRPr lang="en-CA" sz="1800" b="1" dirty="0">
                        <a:solidFill>
                          <a:srgbClr val="D17D08"/>
                        </a:solidFill>
                      </a:endParaRPr>
                    </a:p>
                  </a:txBody>
                  <a:tcPr anchor="ctr"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475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655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  <a:tabLst>
                          <a:tab pos="177800" algn="l"/>
                        </a:tabLst>
                      </a:pPr>
                      <a:endParaRPr lang="en-CA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65555">
                <a:tc>
                  <a:txBody>
                    <a:bodyPr/>
                    <a:lstStyle/>
                    <a:p>
                      <a:pPr marL="169863" indent="-169863" algn="l">
                        <a:spcBef>
                          <a:spcPts val="600"/>
                        </a:spcBef>
                        <a:buFont typeface="Arial" pitchFamily="34" charset="0"/>
                        <a:buChar char="•"/>
                      </a:pPr>
                      <a:endParaRPr lang="en-CA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94264601"/>
                  </a:ext>
                </a:extLst>
              </a:tr>
              <a:tr h="1077517">
                <a:tc>
                  <a:txBody>
                    <a:bodyPr/>
                    <a:lstStyle/>
                    <a:p>
                      <a:pPr marL="169863" indent="-169863" algn="l">
                        <a:spcBef>
                          <a:spcPts val="600"/>
                        </a:spcBef>
                        <a:buFont typeface="Arial" pitchFamily="34" charset="0"/>
                        <a:buChar char="•"/>
                      </a:pPr>
                      <a:endParaRPr lang="en-CA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870496780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3321400" y="4558588"/>
            <a:ext cx="5494354" cy="1756244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333333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376692" y="664522"/>
            <a:ext cx="6322319" cy="635961"/>
            <a:chOff x="287152" y="645015"/>
            <a:chExt cx="6322319" cy="609792"/>
          </a:xfrm>
        </p:grpSpPr>
        <p:sp>
          <p:nvSpPr>
            <p:cNvPr id="14" name="Isosceles Triangle 12"/>
            <p:cNvSpPr/>
            <p:nvPr/>
          </p:nvSpPr>
          <p:spPr>
            <a:xfrm rot="5400000">
              <a:off x="2021157" y="789212"/>
              <a:ext cx="609792" cy="321397"/>
            </a:xfrm>
            <a:prstGeom prst="triangle">
              <a:avLst/>
            </a:prstGeom>
            <a:solidFill>
              <a:srgbClr val="F6F6F6">
                <a:alpha val="80000"/>
              </a:srgbClr>
            </a:solidFill>
            <a:ln>
              <a:noFill/>
            </a:ln>
            <a:effectLst>
              <a:outerShdw blurRad="12700" dist="127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11"/>
            <p:cNvSpPr/>
            <p:nvPr/>
          </p:nvSpPr>
          <p:spPr>
            <a:xfrm>
              <a:off x="5146654" y="743332"/>
              <a:ext cx="1462817" cy="250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en-CA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11"/>
            <p:cNvSpPr/>
            <p:nvPr/>
          </p:nvSpPr>
          <p:spPr>
            <a:xfrm>
              <a:off x="2733660" y="752402"/>
              <a:ext cx="1462817" cy="250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en-CA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1"/>
            <p:cNvSpPr/>
            <p:nvPr/>
          </p:nvSpPr>
          <p:spPr>
            <a:xfrm>
              <a:off x="287152" y="706056"/>
              <a:ext cx="1462817" cy="250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en-CA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Isosceles Triangle 12"/>
            <p:cNvSpPr/>
            <p:nvPr/>
          </p:nvSpPr>
          <p:spPr>
            <a:xfrm rot="5400000">
              <a:off x="4381450" y="789212"/>
              <a:ext cx="609792" cy="321397"/>
            </a:xfrm>
            <a:prstGeom prst="triangle">
              <a:avLst/>
            </a:prstGeom>
            <a:solidFill>
              <a:srgbClr val="F6F6F6">
                <a:alpha val="80000"/>
              </a:srgbClr>
            </a:solidFill>
            <a:ln>
              <a:noFill/>
            </a:ln>
            <a:effectLst>
              <a:outerShdw blurRad="12700" dist="127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65143" y="2855534"/>
            <a:ext cx="8787481" cy="371640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1400" dirty="0"/>
              <a:t>A service support strategy defines a clear path for creating a service support organization with the skills and capabilities the business needs to produce growth, flexibility, and innovation.</a:t>
            </a:r>
          </a:p>
          <a:p>
            <a:pPr marL="187325" lvl="1">
              <a:spcBef>
                <a:spcPts val="300"/>
              </a:spcBef>
              <a:spcAft>
                <a:spcPts val="600"/>
              </a:spcAft>
            </a:pPr>
            <a:r>
              <a:rPr lang="en-US" sz="1400" b="1" dirty="0"/>
              <a:t>A service support strategy will:</a:t>
            </a:r>
          </a:p>
          <a:p>
            <a:pPr marL="358775" lvl="1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Organize</a:t>
            </a:r>
            <a:r>
              <a:rPr lang="en-US" sz="1400" dirty="0"/>
              <a:t> IT's financial, technical, and human resources around generating business value through service support.</a:t>
            </a:r>
          </a:p>
          <a:p>
            <a:pPr marL="358775" lvl="1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Provide</a:t>
            </a:r>
            <a:r>
              <a:rPr lang="en-US" sz="1400" dirty="0"/>
              <a:t> risk management oversight of service support activities.</a:t>
            </a:r>
          </a:p>
          <a:p>
            <a:pPr marL="358775" lvl="1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400" b="1" dirty="0"/>
              <a:t>Identify</a:t>
            </a:r>
            <a:r>
              <a:rPr lang="en-CA" sz="1400" dirty="0"/>
              <a:t> improvement dependencies.</a:t>
            </a:r>
          </a:p>
          <a:p>
            <a:pPr marL="358775" lvl="1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400" b="1" dirty="0"/>
              <a:t>Prioritize</a:t>
            </a:r>
            <a:r>
              <a:rPr lang="en-CA" sz="1400" dirty="0"/>
              <a:t> service support initiatives.</a:t>
            </a:r>
          </a:p>
          <a:p>
            <a:pPr marL="358775" lvl="1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400" b="1" dirty="0"/>
              <a:t>Ensure</a:t>
            </a:r>
            <a:r>
              <a:rPr lang="en-CA" sz="1400" dirty="0"/>
              <a:t> initiatives help achieve the strategic goals of the organization and yield value over time.</a:t>
            </a:r>
          </a:p>
          <a:p>
            <a:pPr marL="358775" lvl="1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400" b="1" dirty="0"/>
              <a:t>Drive</a:t>
            </a:r>
            <a:r>
              <a:rPr lang="en-CA" sz="1400" dirty="0"/>
              <a:t> lower costs, increased output, and competitive advantage through the alignment of IT activities with drivers of business success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400" dirty="0"/>
          </a:p>
        </p:txBody>
      </p:sp>
      <p:sp>
        <p:nvSpPr>
          <p:cNvPr id="25" name="Rectangle 24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9735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255591"/>
            <a:ext cx="5058404" cy="877887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</a:rPr>
              <a:t>Make the case to garner support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1891205"/>
              </p:ext>
            </p:extLst>
          </p:nvPr>
        </p:nvGraphicFramePr>
        <p:xfrm>
          <a:off x="0" y="2028790"/>
          <a:ext cx="9144000" cy="448631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572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572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15553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dirty="0">
                          <a:solidFill>
                            <a:schemeClr val="bg1"/>
                          </a:solidFill>
                        </a:rPr>
                        <a:t>There’s more than one way to build a business strategy</a:t>
                      </a:r>
                      <a:endParaRPr lang="en-CA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475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sz="16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475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707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2563" lvl="0" inden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CA" sz="1400" dirty="0"/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CA" sz="1400" dirty="0"/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"/>
            <a:ext cx="9144000" cy="2028788"/>
          </a:xfrm>
          <a:prstGeom prst="rect">
            <a:avLst/>
          </a:prstGeom>
        </p:spPr>
      </p:pic>
      <p:sp>
        <p:nvSpPr>
          <p:cNvPr id="11" name="Rectangle 10"/>
          <p:cNvSpPr/>
          <p:nvPr>
            <p:custDataLst>
              <p:tags r:id="rId1"/>
            </p:custDataLst>
          </p:nvPr>
        </p:nvSpPr>
        <p:spPr>
          <a:xfrm>
            <a:off x="5888339" y="5445744"/>
            <a:ext cx="2888065" cy="84179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CA" sz="1200" dirty="0">
              <a:solidFill>
                <a:srgbClr val="333333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493520" y="3572488"/>
            <a:ext cx="2871787" cy="2715047"/>
            <a:chOff x="1711325" y="4070668"/>
            <a:chExt cx="9009995" cy="8518237"/>
          </a:xfrm>
        </p:grpSpPr>
        <p:sp>
          <p:nvSpPr>
            <p:cNvPr id="10" name="Freeform 9"/>
            <p:cNvSpPr/>
            <p:nvPr/>
          </p:nvSpPr>
          <p:spPr>
            <a:xfrm>
              <a:off x="1711325" y="4070668"/>
              <a:ext cx="4777130" cy="4777130"/>
            </a:xfrm>
            <a:custGeom>
              <a:avLst/>
              <a:gdLst>
                <a:gd name="connsiteX0" fmla="*/ 0 w 4777130"/>
                <a:gd name="connsiteY0" fmla="*/ 2388565 h 4777130"/>
                <a:gd name="connsiteX1" fmla="*/ 2388565 w 4777130"/>
                <a:gd name="connsiteY1" fmla="*/ 0 h 4777130"/>
                <a:gd name="connsiteX2" fmla="*/ 4777130 w 4777130"/>
                <a:gd name="connsiteY2" fmla="*/ 2388565 h 4777130"/>
                <a:gd name="connsiteX3" fmla="*/ 2388565 w 4777130"/>
                <a:gd name="connsiteY3" fmla="*/ 4777130 h 4777130"/>
                <a:gd name="connsiteX4" fmla="*/ 0 w 4777130"/>
                <a:gd name="connsiteY4" fmla="*/ 2388565 h 477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77130" h="4777130">
                  <a:moveTo>
                    <a:pt x="0" y="2388565"/>
                  </a:moveTo>
                  <a:cubicBezTo>
                    <a:pt x="0" y="1069397"/>
                    <a:pt x="1069397" y="0"/>
                    <a:pt x="2388565" y="0"/>
                  </a:cubicBezTo>
                  <a:cubicBezTo>
                    <a:pt x="3707733" y="0"/>
                    <a:pt x="4777130" y="1069397"/>
                    <a:pt x="4777130" y="2388565"/>
                  </a:cubicBezTo>
                  <a:cubicBezTo>
                    <a:pt x="4777130" y="3707733"/>
                    <a:pt x="3707733" y="4777130"/>
                    <a:pt x="2388565" y="4777130"/>
                  </a:cubicBezTo>
                  <a:cubicBezTo>
                    <a:pt x="1069397" y="4777130"/>
                    <a:pt x="0" y="3707733"/>
                    <a:pt x="0" y="2388565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 w="28575">
              <a:solidFill>
                <a:schemeClr val="accent1"/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962495" tIns="782144" rIns="962495" bIns="782144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6500" kern="12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5944190" y="4070668"/>
              <a:ext cx="4777130" cy="4777130"/>
            </a:xfrm>
            <a:custGeom>
              <a:avLst/>
              <a:gdLst>
                <a:gd name="connsiteX0" fmla="*/ 0 w 4777130"/>
                <a:gd name="connsiteY0" fmla="*/ 2388565 h 4777130"/>
                <a:gd name="connsiteX1" fmla="*/ 2388565 w 4777130"/>
                <a:gd name="connsiteY1" fmla="*/ 0 h 4777130"/>
                <a:gd name="connsiteX2" fmla="*/ 4777130 w 4777130"/>
                <a:gd name="connsiteY2" fmla="*/ 2388565 h 4777130"/>
                <a:gd name="connsiteX3" fmla="*/ 2388565 w 4777130"/>
                <a:gd name="connsiteY3" fmla="*/ 4777130 h 4777130"/>
                <a:gd name="connsiteX4" fmla="*/ 0 w 4777130"/>
                <a:gd name="connsiteY4" fmla="*/ 2388565 h 477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77130" h="4777130">
                  <a:moveTo>
                    <a:pt x="0" y="2388565"/>
                  </a:moveTo>
                  <a:cubicBezTo>
                    <a:pt x="0" y="1069397"/>
                    <a:pt x="1069397" y="0"/>
                    <a:pt x="2388565" y="0"/>
                  </a:cubicBezTo>
                  <a:cubicBezTo>
                    <a:pt x="3707733" y="0"/>
                    <a:pt x="4777130" y="1069397"/>
                    <a:pt x="4777130" y="2388565"/>
                  </a:cubicBezTo>
                  <a:cubicBezTo>
                    <a:pt x="4777130" y="3707733"/>
                    <a:pt x="3707733" y="4777130"/>
                    <a:pt x="2388565" y="4777130"/>
                  </a:cubicBezTo>
                  <a:cubicBezTo>
                    <a:pt x="1069397" y="4777130"/>
                    <a:pt x="0" y="3707733"/>
                    <a:pt x="0" y="2388565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 w="28575">
              <a:solidFill>
                <a:schemeClr val="accent1"/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962495" tIns="782144" rIns="962495" bIns="782144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6500" kern="12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3815814" y="7811775"/>
              <a:ext cx="4777129" cy="4777130"/>
            </a:xfrm>
            <a:custGeom>
              <a:avLst/>
              <a:gdLst>
                <a:gd name="connsiteX0" fmla="*/ 0 w 4777130"/>
                <a:gd name="connsiteY0" fmla="*/ 2388565 h 4777130"/>
                <a:gd name="connsiteX1" fmla="*/ 2388565 w 4777130"/>
                <a:gd name="connsiteY1" fmla="*/ 0 h 4777130"/>
                <a:gd name="connsiteX2" fmla="*/ 4777130 w 4777130"/>
                <a:gd name="connsiteY2" fmla="*/ 2388565 h 4777130"/>
                <a:gd name="connsiteX3" fmla="*/ 2388565 w 4777130"/>
                <a:gd name="connsiteY3" fmla="*/ 4777130 h 4777130"/>
                <a:gd name="connsiteX4" fmla="*/ 0 w 4777130"/>
                <a:gd name="connsiteY4" fmla="*/ 2388565 h 477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77130" h="4777130">
                  <a:moveTo>
                    <a:pt x="0" y="2388565"/>
                  </a:moveTo>
                  <a:cubicBezTo>
                    <a:pt x="0" y="1069397"/>
                    <a:pt x="1069397" y="0"/>
                    <a:pt x="2388565" y="0"/>
                  </a:cubicBezTo>
                  <a:cubicBezTo>
                    <a:pt x="3707733" y="0"/>
                    <a:pt x="4777130" y="1069397"/>
                    <a:pt x="4777130" y="2388565"/>
                  </a:cubicBezTo>
                  <a:cubicBezTo>
                    <a:pt x="4777130" y="3707733"/>
                    <a:pt x="3707733" y="4777130"/>
                    <a:pt x="2388565" y="4777130"/>
                  </a:cubicBezTo>
                  <a:cubicBezTo>
                    <a:pt x="1069397" y="4777130"/>
                    <a:pt x="0" y="3707733"/>
                    <a:pt x="0" y="2388565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 w="28575">
              <a:solidFill>
                <a:schemeClr val="accent1"/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962495" tIns="782144" rIns="962495" bIns="782144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6500" kern="12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755363" y="5609609"/>
              <a:ext cx="2689049" cy="13110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ea typeface="Raleway" charset="0"/>
                  <a:cs typeface="Raleway" charset="0"/>
                </a:rPr>
                <a:t>Customer </a:t>
              </a:r>
            </a:p>
            <a:p>
              <a:pPr algn="ctr"/>
              <a:r>
                <a:rPr lang="en-US" sz="1600" b="1" dirty="0">
                  <a:solidFill>
                    <a:schemeClr val="tx2"/>
                  </a:solidFill>
                  <a:ea typeface="Raleway" charset="0"/>
                  <a:cs typeface="Raleway" charset="0"/>
                </a:rPr>
                <a:t>Driven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452504" y="5609609"/>
              <a:ext cx="1898364" cy="13110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ea typeface="Raleway" charset="0"/>
                  <a:cs typeface="Raleway" charset="0"/>
                </a:rPr>
                <a:t>Market</a:t>
              </a:r>
            </a:p>
            <a:p>
              <a:pPr algn="ctr"/>
              <a:r>
                <a:rPr lang="en-US" sz="1600" b="1" dirty="0">
                  <a:solidFill>
                    <a:schemeClr val="tx2"/>
                  </a:solidFill>
                  <a:ea typeface="Raleway" charset="0"/>
                  <a:cs typeface="Raleway" charset="0"/>
                </a:rPr>
                <a:t>Driven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925249" y="9407250"/>
              <a:ext cx="2462625" cy="13110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ea typeface="Raleway" charset="0"/>
                  <a:cs typeface="Raleway" charset="0"/>
                </a:rPr>
                <a:t>Internally</a:t>
              </a:r>
            </a:p>
            <a:p>
              <a:pPr algn="ctr"/>
              <a:r>
                <a:rPr lang="en-US" sz="1600" b="1" dirty="0">
                  <a:solidFill>
                    <a:schemeClr val="tx2"/>
                  </a:solidFill>
                  <a:ea typeface="Raleway" charset="0"/>
                  <a:cs typeface="Raleway" charset="0"/>
                </a:rPr>
                <a:t>Driven</a:t>
              </a:r>
            </a:p>
          </p:txBody>
        </p:sp>
      </p:grp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1913556052"/>
              </p:ext>
            </p:extLst>
          </p:nvPr>
        </p:nvGraphicFramePr>
        <p:xfrm>
          <a:off x="4975118" y="3489219"/>
          <a:ext cx="3801286" cy="2904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Rectangle 2"/>
          <p:cNvSpPr/>
          <p:nvPr/>
        </p:nvSpPr>
        <p:spPr>
          <a:xfrm>
            <a:off x="204520" y="2810645"/>
            <a:ext cx="85718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onsultants, practitioners, and scholars each have different ideas about what strategy is really about based on their emphasis, focus, and scope.</a:t>
            </a:r>
            <a:endParaRPr lang="en-CA" sz="1400" dirty="0"/>
          </a:p>
        </p:txBody>
      </p:sp>
      <p:sp>
        <p:nvSpPr>
          <p:cNvPr id="18" name="Rectangle 17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5685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443" y="1573429"/>
            <a:ext cx="7705505" cy="4370700"/>
          </a:xfrm>
          <a:prstGeom prst="rect">
            <a:avLst/>
          </a:prstGeom>
        </p:spPr>
      </p:pic>
      <p:sp>
        <p:nvSpPr>
          <p:cNvPr id="5" name="Rectangle 4">
            <a:hlinkClick r:id="rId3"/>
          </p:cNvPr>
          <p:cNvSpPr/>
          <p:nvPr/>
        </p:nvSpPr>
        <p:spPr>
          <a:xfrm>
            <a:off x="896361" y="187574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5">
            <a:hlinkClick r:id="rId4"/>
          </p:cNvPr>
          <p:cNvSpPr/>
          <p:nvPr/>
        </p:nvSpPr>
        <p:spPr>
          <a:xfrm>
            <a:off x="896361" y="254224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>
            <a:hlinkClick r:id="rId5"/>
          </p:cNvPr>
          <p:cNvSpPr/>
          <p:nvPr/>
        </p:nvSpPr>
        <p:spPr>
          <a:xfrm>
            <a:off x="913705" y="314051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angle 7">
            <a:hlinkClick r:id="rId6"/>
          </p:cNvPr>
          <p:cNvSpPr/>
          <p:nvPr/>
        </p:nvSpPr>
        <p:spPr>
          <a:xfrm>
            <a:off x="1694890" y="319293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hlinkClick r:id="rId7"/>
          </p:cNvPr>
          <p:cNvSpPr/>
          <p:nvPr/>
        </p:nvSpPr>
        <p:spPr>
          <a:xfrm>
            <a:off x="1680050" y="252620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>
            <a:hlinkClick r:id="rId8"/>
          </p:cNvPr>
          <p:cNvSpPr/>
          <p:nvPr/>
        </p:nvSpPr>
        <p:spPr>
          <a:xfrm>
            <a:off x="904161" y="377835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>
            <a:hlinkClick r:id="rId9"/>
          </p:cNvPr>
          <p:cNvSpPr/>
          <p:nvPr/>
        </p:nvSpPr>
        <p:spPr>
          <a:xfrm>
            <a:off x="896361" y="462491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hlinkClick r:id="rId9"/>
          </p:cNvPr>
          <p:cNvSpPr/>
          <p:nvPr/>
        </p:nvSpPr>
        <p:spPr>
          <a:xfrm>
            <a:off x="908626" y="4421345"/>
            <a:ext cx="690773" cy="558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12">
            <a:hlinkClick r:id="rId10"/>
          </p:cNvPr>
          <p:cNvSpPr/>
          <p:nvPr/>
        </p:nvSpPr>
        <p:spPr>
          <a:xfrm>
            <a:off x="905592" y="506998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13">
            <a:hlinkClick r:id="rId11"/>
          </p:cNvPr>
          <p:cNvSpPr/>
          <p:nvPr/>
        </p:nvSpPr>
        <p:spPr>
          <a:xfrm>
            <a:off x="1681064" y="441992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hlinkClick r:id="rId12"/>
          </p:cNvPr>
          <p:cNvSpPr/>
          <p:nvPr/>
        </p:nvSpPr>
        <p:spPr>
          <a:xfrm>
            <a:off x="1678414" y="504368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hlinkClick r:id="rId13"/>
          </p:cNvPr>
          <p:cNvSpPr/>
          <p:nvPr/>
        </p:nvSpPr>
        <p:spPr>
          <a:xfrm>
            <a:off x="2438889" y="313312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16">
            <a:hlinkClick r:id="rId14"/>
          </p:cNvPr>
          <p:cNvSpPr/>
          <p:nvPr/>
        </p:nvSpPr>
        <p:spPr>
          <a:xfrm>
            <a:off x="2445382" y="377930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hlinkClick r:id="rId15"/>
          </p:cNvPr>
          <p:cNvSpPr/>
          <p:nvPr/>
        </p:nvSpPr>
        <p:spPr>
          <a:xfrm>
            <a:off x="2455672" y="43995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>
            <a:hlinkClick r:id="rId16"/>
          </p:cNvPr>
          <p:cNvSpPr/>
          <p:nvPr/>
        </p:nvSpPr>
        <p:spPr>
          <a:xfrm>
            <a:off x="2439106" y="504345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Rectangle 19">
            <a:hlinkClick r:id="rId17"/>
          </p:cNvPr>
          <p:cNvSpPr/>
          <p:nvPr/>
        </p:nvSpPr>
        <p:spPr>
          <a:xfrm>
            <a:off x="3212703" y="37861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Rectangle 20">
            <a:hlinkClick r:id="rId18"/>
          </p:cNvPr>
          <p:cNvSpPr/>
          <p:nvPr/>
        </p:nvSpPr>
        <p:spPr>
          <a:xfrm>
            <a:off x="3204660" y="440848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hlinkClick r:id="rId19"/>
          </p:cNvPr>
          <p:cNvSpPr/>
          <p:nvPr/>
        </p:nvSpPr>
        <p:spPr>
          <a:xfrm>
            <a:off x="3198890" y="503150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3" name="Rectangle 22">
            <a:hlinkClick r:id="rId20"/>
          </p:cNvPr>
          <p:cNvSpPr/>
          <p:nvPr/>
        </p:nvSpPr>
        <p:spPr>
          <a:xfrm>
            <a:off x="3992132" y="376474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Rectangle 23">
            <a:hlinkClick r:id="rId21"/>
          </p:cNvPr>
          <p:cNvSpPr/>
          <p:nvPr/>
        </p:nvSpPr>
        <p:spPr>
          <a:xfrm>
            <a:off x="3978306" y="439453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Rectangle 24">
            <a:hlinkClick r:id="rId22"/>
          </p:cNvPr>
          <p:cNvSpPr/>
          <p:nvPr/>
        </p:nvSpPr>
        <p:spPr>
          <a:xfrm>
            <a:off x="3999249" y="503328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Rectangle 25">
            <a:hlinkClick r:id="rId23"/>
          </p:cNvPr>
          <p:cNvSpPr/>
          <p:nvPr/>
        </p:nvSpPr>
        <p:spPr>
          <a:xfrm>
            <a:off x="4763483" y="377927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Rectangle 26">
            <a:hlinkClick r:id="rId24"/>
          </p:cNvPr>
          <p:cNvSpPr/>
          <p:nvPr/>
        </p:nvSpPr>
        <p:spPr>
          <a:xfrm>
            <a:off x="4771405" y="445948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Rectangle 27">
            <a:hlinkClick r:id="rId25"/>
          </p:cNvPr>
          <p:cNvSpPr/>
          <p:nvPr/>
        </p:nvSpPr>
        <p:spPr>
          <a:xfrm>
            <a:off x="4772370" y="501771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9" name="Rectangle 28">
            <a:hlinkClick r:id="rId26"/>
          </p:cNvPr>
          <p:cNvSpPr/>
          <p:nvPr/>
        </p:nvSpPr>
        <p:spPr>
          <a:xfrm>
            <a:off x="5561896" y="376504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0" name="Rectangle 29">
            <a:hlinkClick r:id="rId27"/>
          </p:cNvPr>
          <p:cNvSpPr/>
          <p:nvPr/>
        </p:nvSpPr>
        <p:spPr>
          <a:xfrm>
            <a:off x="1688324" y="3795502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1" name="Rectangle 30">
            <a:hlinkClick r:id="rId28"/>
          </p:cNvPr>
          <p:cNvSpPr/>
          <p:nvPr/>
        </p:nvSpPr>
        <p:spPr>
          <a:xfrm>
            <a:off x="5537579" y="314168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2" name="Rectangle 31">
            <a:hlinkClick r:id="rId29"/>
          </p:cNvPr>
          <p:cNvSpPr/>
          <p:nvPr/>
        </p:nvSpPr>
        <p:spPr>
          <a:xfrm>
            <a:off x="5523521" y="439453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" name="Rectangle 32">
            <a:hlinkClick r:id="rId30"/>
          </p:cNvPr>
          <p:cNvSpPr/>
          <p:nvPr/>
        </p:nvSpPr>
        <p:spPr>
          <a:xfrm>
            <a:off x="5537579" y="503044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Rectangle 33">
            <a:hlinkClick r:id="rId31"/>
          </p:cNvPr>
          <p:cNvSpPr/>
          <p:nvPr/>
        </p:nvSpPr>
        <p:spPr>
          <a:xfrm>
            <a:off x="6308933" y="251729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Rectangle 34">
            <a:hlinkClick r:id="rId32"/>
          </p:cNvPr>
          <p:cNvSpPr/>
          <p:nvPr/>
        </p:nvSpPr>
        <p:spPr>
          <a:xfrm>
            <a:off x="6307531" y="314612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Rectangle 35">
            <a:hlinkClick r:id="rId33"/>
          </p:cNvPr>
          <p:cNvSpPr/>
          <p:nvPr/>
        </p:nvSpPr>
        <p:spPr>
          <a:xfrm>
            <a:off x="6304704" y="37761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Rectangle 36">
            <a:hlinkClick r:id="rId34"/>
          </p:cNvPr>
          <p:cNvSpPr/>
          <p:nvPr/>
        </p:nvSpPr>
        <p:spPr>
          <a:xfrm>
            <a:off x="6319063" y="442421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8" name="Rectangle 37">
            <a:hlinkClick r:id="rId35"/>
          </p:cNvPr>
          <p:cNvSpPr/>
          <p:nvPr/>
        </p:nvSpPr>
        <p:spPr>
          <a:xfrm>
            <a:off x="6311724" y="504313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Rectangle 38">
            <a:hlinkClick r:id="rId36"/>
          </p:cNvPr>
          <p:cNvSpPr/>
          <p:nvPr/>
        </p:nvSpPr>
        <p:spPr>
          <a:xfrm>
            <a:off x="7088885" y="188421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Rectangle 39">
            <a:hlinkClick r:id="rId37"/>
          </p:cNvPr>
          <p:cNvSpPr/>
          <p:nvPr/>
        </p:nvSpPr>
        <p:spPr>
          <a:xfrm>
            <a:off x="7096702" y="250078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Rectangle 40">
            <a:hlinkClick r:id="rId38"/>
          </p:cNvPr>
          <p:cNvSpPr/>
          <p:nvPr/>
        </p:nvSpPr>
        <p:spPr>
          <a:xfrm>
            <a:off x="7064173" y="315346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Rectangle 41">
            <a:hlinkClick r:id="rId39"/>
          </p:cNvPr>
          <p:cNvSpPr/>
          <p:nvPr/>
        </p:nvSpPr>
        <p:spPr>
          <a:xfrm>
            <a:off x="7085887" y="37861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3" name="Rectangle 42">
            <a:hlinkClick r:id="rId40"/>
          </p:cNvPr>
          <p:cNvSpPr/>
          <p:nvPr/>
        </p:nvSpPr>
        <p:spPr>
          <a:xfrm>
            <a:off x="7081173" y="441189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4" name="Rectangle 43">
            <a:hlinkClick r:id="rId41"/>
          </p:cNvPr>
          <p:cNvSpPr/>
          <p:nvPr/>
        </p:nvSpPr>
        <p:spPr>
          <a:xfrm>
            <a:off x="7082071" y="503605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5" name="Rectangle 44">
            <a:hlinkClick r:id="rId42"/>
          </p:cNvPr>
          <p:cNvSpPr/>
          <p:nvPr/>
        </p:nvSpPr>
        <p:spPr>
          <a:xfrm>
            <a:off x="7859757" y="189256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Rectangle 45">
            <a:hlinkClick r:id="rId43"/>
          </p:cNvPr>
          <p:cNvSpPr/>
          <p:nvPr/>
        </p:nvSpPr>
        <p:spPr>
          <a:xfrm>
            <a:off x="7858686" y="251052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hlinkClick r:id="rId44"/>
          </p:cNvPr>
          <p:cNvSpPr/>
          <p:nvPr/>
        </p:nvSpPr>
        <p:spPr>
          <a:xfrm>
            <a:off x="7870243" y="316095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hlinkClick r:id="rId45"/>
          </p:cNvPr>
          <p:cNvSpPr/>
          <p:nvPr/>
        </p:nvSpPr>
        <p:spPr>
          <a:xfrm>
            <a:off x="7869705" y="37761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hlinkClick r:id="rId46"/>
          </p:cNvPr>
          <p:cNvSpPr/>
          <p:nvPr/>
        </p:nvSpPr>
        <p:spPr>
          <a:xfrm>
            <a:off x="7843283" y="443166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0" name="Rectangle 49">
            <a:hlinkClick r:id="rId47"/>
          </p:cNvPr>
          <p:cNvSpPr/>
          <p:nvPr/>
        </p:nvSpPr>
        <p:spPr>
          <a:xfrm>
            <a:off x="7807020" y="505066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52400" y="330406"/>
            <a:ext cx="9143999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CA" sz="2400" b="1" dirty="0">
                <a:solidFill>
                  <a:srgbClr val="333333"/>
                </a:solidFill>
              </a:rPr>
              <a:t>Dive </a:t>
            </a:r>
            <a:r>
              <a:rPr lang="en-CA" sz="2400" b="1" dirty="0" smtClean="0">
                <a:solidFill>
                  <a:srgbClr val="333333"/>
                </a:solidFill>
              </a:rPr>
              <a:t>Deeper </a:t>
            </a:r>
            <a:r>
              <a:rPr lang="en-CA" sz="2400" b="1" dirty="0">
                <a:solidFill>
                  <a:srgbClr val="333333"/>
                </a:solidFill>
              </a:rPr>
              <a:t>I</a:t>
            </a:r>
            <a:r>
              <a:rPr lang="en-CA" sz="2400" b="1" dirty="0" smtClean="0">
                <a:solidFill>
                  <a:srgbClr val="333333"/>
                </a:solidFill>
              </a:rPr>
              <a:t>nto </a:t>
            </a:r>
            <a:r>
              <a:rPr lang="en-CA" sz="2400" b="1" dirty="0">
                <a:solidFill>
                  <a:srgbClr val="333333"/>
                </a:solidFill>
              </a:rPr>
              <a:t>O</a:t>
            </a:r>
            <a:r>
              <a:rPr lang="en-CA" sz="2400" b="1" dirty="0" smtClean="0">
                <a:solidFill>
                  <a:srgbClr val="333333"/>
                </a:solidFill>
              </a:rPr>
              <a:t>ur Research </a:t>
            </a:r>
          </a:p>
          <a:p>
            <a:pPr algn="ctr"/>
            <a:r>
              <a:rPr lang="en-CA" sz="2400" b="1" dirty="0" smtClean="0">
                <a:solidFill>
                  <a:srgbClr val="333333"/>
                </a:solidFill>
              </a:rPr>
              <a:t>by Clicking </a:t>
            </a:r>
            <a:r>
              <a:rPr lang="en-CA" sz="2400" b="1" dirty="0">
                <a:solidFill>
                  <a:srgbClr val="333333"/>
                </a:solidFill>
              </a:rPr>
              <a:t>O</a:t>
            </a:r>
            <a:r>
              <a:rPr lang="en-CA" sz="2400" b="1" dirty="0" smtClean="0">
                <a:solidFill>
                  <a:srgbClr val="333333"/>
                </a:solidFill>
              </a:rPr>
              <a:t>ne </a:t>
            </a:r>
            <a:r>
              <a:rPr lang="en-CA" sz="2400" b="1" dirty="0">
                <a:solidFill>
                  <a:srgbClr val="333333"/>
                </a:solidFill>
              </a:rPr>
              <a:t>of the </a:t>
            </a:r>
            <a:r>
              <a:rPr lang="en-CA" sz="2400" b="1" dirty="0" smtClean="0">
                <a:solidFill>
                  <a:srgbClr val="333333"/>
                </a:solidFill>
              </a:rPr>
              <a:t>Elements Below</a:t>
            </a:r>
            <a:endParaRPr lang="en-CA" sz="1200" dirty="0" smtClean="0">
              <a:solidFill>
                <a:srgbClr val="333333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08876" y="6249677"/>
            <a:ext cx="7840920" cy="4462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CA" sz="1100" dirty="0" smtClean="0">
                <a:solidFill>
                  <a:srgbClr val="333333"/>
                </a:solidFill>
                <a:ea typeface="Roboto" panose="02000000000000000000" pitchFamily="2" charset="0"/>
              </a:rPr>
              <a:t>Find out how Info-Tech makes your job easier.  	  </a:t>
            </a:r>
            <a:r>
              <a:rPr lang="en-CA" sz="1100" b="1" dirty="0" smtClean="0">
                <a:solidFill>
                  <a:srgbClr val="96B8D2">
                    <a:lumMod val="50000"/>
                  </a:srgbClr>
                </a:solidFill>
                <a:ea typeface="Roboto" panose="02000000000000000000" pitchFamily="2" charset="0"/>
              </a:rPr>
              <a:t>Contact Us Today:</a:t>
            </a:r>
            <a:r>
              <a:rPr lang="en-CA" sz="1100" b="1" dirty="0" smtClean="0">
                <a:solidFill>
                  <a:srgbClr val="333333"/>
                </a:solidFill>
                <a:ea typeface="Roboto" panose="02000000000000000000" pitchFamily="2" charset="0"/>
              </a:rPr>
              <a:t> </a:t>
            </a:r>
            <a:r>
              <a:rPr lang="en-CA" sz="1100" dirty="0" smtClean="0">
                <a:solidFill>
                  <a:srgbClr val="333333"/>
                </a:solidFill>
              </a:rPr>
              <a:t>Toll-Free </a:t>
            </a:r>
            <a:r>
              <a:rPr lang="en-CA" sz="1100" dirty="0">
                <a:solidFill>
                  <a:srgbClr val="333333"/>
                </a:solidFill>
              </a:rPr>
              <a:t>(US &amp; Canada</a:t>
            </a:r>
            <a:r>
              <a:rPr lang="en-CA" sz="1100" dirty="0" smtClean="0">
                <a:solidFill>
                  <a:srgbClr val="333333"/>
                </a:solidFill>
              </a:rPr>
              <a:t>): </a:t>
            </a:r>
            <a:r>
              <a:rPr lang="en-CA" sz="1100" b="1" dirty="0" smtClean="0">
                <a:solidFill>
                  <a:srgbClr val="333333"/>
                </a:solidFill>
              </a:rPr>
              <a:t>1-888-670-8889</a:t>
            </a:r>
            <a:endParaRPr lang="en-CA" sz="1100" b="1" dirty="0">
              <a:solidFill>
                <a:srgbClr val="333333"/>
              </a:solidFill>
            </a:endParaRPr>
          </a:p>
          <a:p>
            <a:r>
              <a:rPr lang="en-CA" sz="1200" dirty="0" smtClean="0">
                <a:solidFill>
                  <a:srgbClr val="333333"/>
                </a:solidFill>
                <a:ea typeface="Roboto" panose="02000000000000000000" pitchFamily="2" charset="0"/>
              </a:rPr>
              <a:t>					 </a:t>
            </a:r>
          </a:p>
        </p:txBody>
      </p:sp>
      <p:sp>
        <p:nvSpPr>
          <p:cNvPr id="53" name="Rectangle 52"/>
          <p:cNvSpPr/>
          <p:nvPr/>
        </p:nvSpPr>
        <p:spPr>
          <a:xfrm>
            <a:off x="2253049" y="1783493"/>
            <a:ext cx="4390767" cy="10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684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208811" y="5017177"/>
            <a:ext cx="749873" cy="71329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66857" y="1137240"/>
            <a:ext cx="792549" cy="64013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35884" y="1587995"/>
            <a:ext cx="4659393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CA" sz="1400" i="1" dirty="0">
                <a:solidFill>
                  <a:srgbClr val="333333"/>
                </a:solidFill>
              </a:rPr>
              <a:t>The so-called demise of IT has caused much hand-wringing lately. Cloud, BYOD, consumerization: all trends point to a shift in the traditional role of internal IT departments. Many are becoming hybrids, focused as much on vendor management as on traditional service provision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CA" sz="1400" b="1" i="1" dirty="0">
                <a:solidFill>
                  <a:srgbClr val="333333"/>
                </a:solidFill>
              </a:rPr>
              <a:t>Where does that leave service support</a:t>
            </a:r>
            <a:r>
              <a:rPr lang="en-CA" sz="1400" i="1" dirty="0">
                <a:solidFill>
                  <a:srgbClr val="333333"/>
                </a:solidFill>
              </a:rPr>
              <a:t>?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CA" sz="1400" i="1" dirty="0">
                <a:solidFill>
                  <a:srgbClr val="333333"/>
                </a:solidFill>
              </a:rPr>
              <a:t>As long as technology continues to develop, there will be a need for people to sort out complex, time-consuming issues. These are not necessarily limited to recovering from incidents when things go wrong; they also include getting to the incidents’ root causes, fulfilling requests, and rolling out changes and releases.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CA" sz="1400" i="1" dirty="0">
                <a:solidFill>
                  <a:srgbClr val="333333"/>
                </a:solidFill>
              </a:rPr>
              <a:t>The strategic direction of your service desk will depend in part on the complexity of your organization, and the  convenience and quality of the service it provid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777479" y="5699340"/>
            <a:ext cx="4572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CA" sz="1400" b="1" dirty="0">
                <a:solidFill>
                  <a:srgbClr val="333333"/>
                </a:solidFill>
              </a:rPr>
              <a:t>Michel Hebert, PhD</a:t>
            </a:r>
          </a:p>
          <a:p>
            <a:pPr algn="r"/>
            <a:r>
              <a:rPr lang="en-CA" sz="1200" dirty="0">
                <a:solidFill>
                  <a:srgbClr val="333333"/>
                </a:solidFill>
              </a:rPr>
              <a:t>Director, Infrastructure &amp; Operations Practice </a:t>
            </a:r>
            <a:br>
              <a:rPr lang="en-CA" sz="1200" dirty="0">
                <a:solidFill>
                  <a:srgbClr val="333333"/>
                </a:solidFill>
              </a:rPr>
            </a:br>
            <a:r>
              <a:rPr lang="en-CA" sz="1200" dirty="0">
                <a:solidFill>
                  <a:srgbClr val="333333"/>
                </a:solidFill>
              </a:rPr>
              <a:t>Info-Tech Research Group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T PERSPECTIVE</a:t>
            </a:r>
            <a:endParaRPr lang="en-CA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68307" y="694535"/>
            <a:ext cx="2819190" cy="559749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291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1457011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7584" y="432041"/>
            <a:ext cx="8620125" cy="877887"/>
          </a:xfrm>
          <a:noFill/>
          <a:ln>
            <a:noFill/>
          </a:ln>
        </p:spPr>
        <p:txBody>
          <a:bodyPr/>
          <a:lstStyle/>
          <a:p>
            <a:r>
              <a:rPr lang="en-CA" sz="3200" dirty="0">
                <a:solidFill>
                  <a:schemeClr val="bg1"/>
                </a:solidFill>
                <a:latin typeface="+mn-lt"/>
              </a:rPr>
              <a:t>Executive summary</a:t>
            </a:r>
            <a:endParaRPr lang="en-CA" b="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744270"/>
              </p:ext>
            </p:extLst>
          </p:nvPr>
        </p:nvGraphicFramePr>
        <p:xfrm>
          <a:off x="371480" y="1572425"/>
          <a:ext cx="8532331" cy="48090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323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CA" sz="1500" dirty="0">
                          <a:solidFill>
                            <a:srgbClr val="2576B7"/>
                          </a:solidFill>
                        </a:rPr>
                        <a:t>Situ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14722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333333"/>
                        </a:buClr>
                        <a:buSzPct val="12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ice desks are evolving to reflect social and organizational changes. As organizations become ever more technologically complex, service desks have become highly skilled business technology service hubs.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333333"/>
                        </a:buClr>
                        <a:buSzPct val="12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easingly, service desks are measuring the performance of technology services and acting as the dashboard for assessing the success of service operation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CA" sz="1500" b="1" dirty="0">
                          <a:solidFill>
                            <a:srgbClr val="2576B7"/>
                          </a:solidFill>
                        </a:rPr>
                        <a:t>Complic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36403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333333"/>
                        </a:buClr>
                        <a:buSzPct val="12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re is a growing demand for service desks to </a:t>
                      </a:r>
                      <a:r>
                        <a:rPr kumimoji="0" lang="en-US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monstrate greater business value. </a:t>
                      </a:r>
                      <a:r>
                        <a:rPr kumimoji="0" lang="en-US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ices desks that cannot deliver and communicate their contribution to the organization are closing or being outsource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28083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CA" sz="1500" b="1" dirty="0">
                          <a:solidFill>
                            <a:srgbClr val="2576B7"/>
                          </a:solidFill>
                        </a:rPr>
                        <a:t>Resolu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64208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333333"/>
                        </a:buClr>
                        <a:buSzPct val="12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ticulating a </a:t>
                      </a:r>
                      <a:r>
                        <a:rPr kumimoji="0" lang="en-CA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ear</a:t>
                      </a: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CA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ice support strategy that</a:t>
                      </a: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CA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igns with business objectives </a:t>
                      </a: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s the most important activity an infrastructure leader can do for the IT department and the organization.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333333"/>
                        </a:buClr>
                        <a:buSzPct val="12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key is to </a:t>
                      </a:r>
                      <a:r>
                        <a:rPr kumimoji="0" lang="en-CA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dentify the business capabilities </a:t>
                      </a: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quired to execute the corporate strategy. Supporting these business capabilities will drive the service support strategy and focus the service desk’s efforts on achieving the strategic goals of the organization.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333333"/>
                        </a:buClr>
                        <a:buSzPct val="12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ltimately, the success of your service support strategy will hinge on whether you </a:t>
                      </a:r>
                      <a:r>
                        <a:rPr kumimoji="0" lang="en-CA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now your business goals and challenges</a:t>
                      </a: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CA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nect them to meaningful initiatives,</a:t>
                      </a:r>
                      <a:r>
                        <a:rPr kumimoji="0" lang="en-CA" sz="13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identify service support process owners accountable for specific roles and responsibilities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370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auto">
          <a:xfrm>
            <a:off x="-1" y="273196"/>
            <a:ext cx="8620217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180970"/>
            <a:r>
              <a:rPr lang="en-US" b="1" dirty="0">
                <a:solidFill>
                  <a:srgbClr val="333333"/>
                </a:solidFill>
                <a:latin typeface="+mn-lt"/>
                <a:cs typeface="Arial" panose="020B0604020202020204" pitchFamily="34" charset="0"/>
              </a:rPr>
              <a:t>Use this research to formalize your service support strategy</a:t>
            </a:r>
            <a:endParaRPr lang="en-US" b="1" dirty="0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4643868"/>
              </p:ext>
            </p:extLst>
          </p:nvPr>
        </p:nvGraphicFramePr>
        <p:xfrm>
          <a:off x="302875" y="1151084"/>
          <a:ext cx="5156891" cy="5227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68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16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2576B7"/>
                          </a:solidFill>
                        </a:rPr>
                        <a:t>Intended Audien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17244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b="1" dirty="0"/>
                        <a:t>IT departments </a:t>
                      </a:r>
                      <a:r>
                        <a:rPr lang="en-CA" sz="1400" dirty="0"/>
                        <a:t>who are ready to move out of firefighting mode and plan a strategic direction for service support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b="1" dirty="0"/>
                        <a:t>IT leaders</a:t>
                      </a:r>
                      <a:r>
                        <a:rPr lang="en-CA" sz="1400" dirty="0"/>
                        <a:t> who need </a:t>
                      </a:r>
                      <a:r>
                        <a:rPr lang="en-CA" sz="1400" baseline="0" dirty="0"/>
                        <a:t>a strategic plan to implement a new service desk or improve an existing one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b="1" dirty="0"/>
                        <a:t>IT departments</a:t>
                      </a:r>
                      <a:r>
                        <a:rPr lang="en-CA" sz="1400" dirty="0"/>
                        <a:t> who need an efficient way to analyze different options, including changes to structures, processes, or outsourcing relationships.</a:t>
                      </a:r>
                      <a:r>
                        <a:rPr lang="en-CA" sz="1400" baseline="0" dirty="0"/>
                        <a:t>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b="1" dirty="0"/>
                        <a:t>Mature IT departments</a:t>
                      </a:r>
                      <a:r>
                        <a:rPr lang="en-CA" sz="1400" dirty="0"/>
                        <a:t> looking to adapt service support to new environments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6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576B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Research Includ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09032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dirty="0"/>
                        <a:t>Service desk </a:t>
                      </a:r>
                      <a:r>
                        <a:rPr lang="en-CA" sz="1400" baseline="0" dirty="0"/>
                        <a:t>maturity assessment</a:t>
                      </a:r>
                      <a:endParaRPr lang="en-CA" sz="1400" dirty="0"/>
                    </a:p>
                    <a:p>
                      <a:pPr marL="285750" indent="-28575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dirty="0"/>
                        <a:t>SWOT</a:t>
                      </a:r>
                      <a:r>
                        <a:rPr lang="en-CA" sz="1400" baseline="0" dirty="0"/>
                        <a:t> analysis</a:t>
                      </a:r>
                      <a:endParaRPr lang="en-CA" sz="1400" dirty="0"/>
                    </a:p>
                    <a:p>
                      <a:pPr marL="285750" indent="-28575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dirty="0"/>
                        <a:t>Goals</a:t>
                      </a:r>
                      <a:r>
                        <a:rPr lang="en-CA" sz="1400" baseline="0" dirty="0"/>
                        <a:t> cascad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baseline="0" dirty="0"/>
                        <a:t>Implementation and accountability roadma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6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576B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ected Benefi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63360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dirty="0"/>
                        <a:t>Long-term funding for multiyear initiatives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dirty="0"/>
                        <a:t>Greater</a:t>
                      </a:r>
                      <a:r>
                        <a:rPr lang="en-CA" sz="1400" baseline="0" dirty="0"/>
                        <a:t> alignment between IT, the service support function, and the business</a:t>
                      </a:r>
                      <a:endParaRPr lang="en-CA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5558182" y="1151084"/>
            <a:ext cx="3301733" cy="5098796"/>
            <a:chOff x="492615" y="1404207"/>
            <a:chExt cx="3301733" cy="5098796"/>
          </a:xfrm>
        </p:grpSpPr>
        <p:sp>
          <p:nvSpPr>
            <p:cNvPr id="9" name="Rectangle 8"/>
            <p:cNvSpPr/>
            <p:nvPr/>
          </p:nvSpPr>
          <p:spPr>
            <a:xfrm>
              <a:off x="492615" y="1404207"/>
              <a:ext cx="3301733" cy="509879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</p:spPr>
          <p:txBody>
            <a:bodyPr wrap="square" lIns="144000" tIns="108000" rIns="10800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576B7"/>
                  </a:solidFill>
                  <a:effectLst/>
                  <a:uLnTx/>
                  <a:uFillTx/>
                </a:rPr>
                <a:t>WALK AWAY FROM THIS BLUEPRINT WITH: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b="1" kern="0" dirty="0">
                <a:solidFill>
                  <a:srgbClr val="2576B7"/>
                </a:solidFill>
              </a:endParaRPr>
            </a:p>
            <a:p>
              <a:pPr marL="630238">
                <a:defRPr/>
              </a:pPr>
              <a:r>
                <a:rPr lang="en-CA" sz="1600" dirty="0"/>
                <a:t>The critical steps and key players in the service support strategic planning process.</a:t>
              </a:r>
            </a:p>
            <a:p>
              <a:pPr marL="630238">
                <a:defRPr/>
              </a:pPr>
              <a:endParaRPr lang="en-US" sz="1600" dirty="0"/>
            </a:p>
            <a:p>
              <a:pPr marL="630238">
                <a:defRPr/>
              </a:pPr>
              <a:r>
                <a:rPr lang="en-CA" sz="1600" dirty="0"/>
                <a:t>A clear understanding of the business expectations for service support.</a:t>
              </a:r>
            </a:p>
            <a:p>
              <a:pPr marL="630238">
                <a:defRPr/>
              </a:pPr>
              <a:endParaRPr lang="en-US" sz="1600" dirty="0"/>
            </a:p>
            <a:p>
              <a:pPr marL="630238">
                <a:defRPr/>
              </a:pPr>
              <a:r>
                <a:rPr lang="en-CA" sz="1600" dirty="0"/>
                <a:t>Effective short-term and long-term service support strategies.</a:t>
              </a:r>
            </a:p>
            <a:p>
              <a:pPr marL="719138">
                <a:defRPr/>
              </a:pPr>
              <a:endParaRPr lang="en-CA" sz="1600" dirty="0"/>
            </a:p>
            <a:p>
              <a:pPr marL="719138">
                <a:defRPr/>
              </a:pPr>
              <a:endParaRPr lang="en-CA" sz="1600" dirty="0"/>
            </a:p>
            <a:p>
              <a:pPr marL="719138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1" i="0" u="none" strike="noStrike" kern="0" cap="none" spc="0" normalizeH="0" baseline="0" noProof="0" dirty="0">
                <a:ln>
                  <a:noFill/>
                </a:ln>
                <a:solidFill>
                  <a:srgbClr val="2576B7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622182" y="2394122"/>
              <a:ext cx="533240" cy="504637"/>
            </a:xfrm>
            <a:prstGeom prst="ellipse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2400" b="1" dirty="0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22182" y="3583449"/>
              <a:ext cx="533240" cy="504637"/>
            </a:xfrm>
            <a:prstGeom prst="ellipse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2400" b="1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8" name="Oval 7"/>
            <p:cNvSpPr/>
            <p:nvPr/>
          </p:nvSpPr>
          <p:spPr>
            <a:xfrm>
              <a:off x="622182" y="4559204"/>
              <a:ext cx="533240" cy="504637"/>
            </a:xfrm>
            <a:prstGeom prst="ellipse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2400" b="1" dirty="0">
                  <a:solidFill>
                    <a:srgbClr val="FFFFFF"/>
                  </a:solidFill>
                </a:rPr>
                <a:t>3</a:t>
              </a:r>
            </a:p>
          </p:txBody>
        </p:sp>
      </p:grpSp>
      <p:sp>
        <p:nvSpPr>
          <p:cNvPr id="12" name="Rectangle 11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9449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57171" y="251472"/>
            <a:ext cx="8626475" cy="865188"/>
          </a:xfrm>
        </p:spPr>
        <p:txBody>
          <a:bodyPr/>
          <a:lstStyle/>
          <a:p>
            <a:r>
              <a:rPr lang="en-US" b="1" dirty="0">
                <a:latin typeface="+mn-lt"/>
              </a:rPr>
              <a:t>Is this research right for you?</a:t>
            </a:r>
          </a:p>
        </p:txBody>
      </p:sp>
      <p:sp>
        <p:nvSpPr>
          <p:cNvPr id="27" name="TextBox 17"/>
          <p:cNvSpPr txBox="1"/>
          <p:nvPr/>
        </p:nvSpPr>
        <p:spPr>
          <a:xfrm>
            <a:off x="257170" y="1155132"/>
            <a:ext cx="8620125" cy="87716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rgbClr val="2576B7"/>
                </a:solidFill>
              </a:rPr>
              <a:t>Research Navigation</a:t>
            </a:r>
            <a:endParaRPr lang="en-US" dirty="0">
              <a:solidFill>
                <a:srgbClr val="2576B7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33333"/>
                </a:solidFill>
              </a:rPr>
              <a:t>A service support strategy will ensure the service support function creates value for the business. Use these questions to find the Info-Tech resources that best align with the outcomes you want to achieve.</a:t>
            </a:r>
            <a:r>
              <a:rPr lang="en-US" sz="1400" dirty="0">
                <a:solidFill>
                  <a:srgbClr val="FFFFFF"/>
                </a:solidFill>
              </a:rPr>
              <a:t>.</a:t>
            </a:r>
            <a:endParaRPr lang="en-CA" sz="1400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7588994"/>
              </p:ext>
            </p:extLst>
          </p:nvPr>
        </p:nvGraphicFramePr>
        <p:xfrm>
          <a:off x="257170" y="2185179"/>
          <a:ext cx="8620125" cy="417673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9604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086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75098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29501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CA" sz="1600" b="1" dirty="0">
                          <a:solidFill>
                            <a:srgbClr val="226AA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 you need to</a:t>
                      </a:r>
                    </a:p>
                  </a:txBody>
                  <a:tcP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CA" sz="1600" b="1" dirty="0">
                          <a:solidFill>
                            <a:srgbClr val="226AA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f you answered yes</a:t>
                      </a:r>
                    </a:p>
                  </a:txBody>
                  <a:tcP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CA" sz="1600" b="1" dirty="0">
                          <a:solidFill>
                            <a:srgbClr val="226AA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 also recommend</a:t>
                      </a:r>
                    </a:p>
                  </a:txBody>
                  <a:tcPr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9229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CA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 a strategy to meet service support requirements?</a:t>
                      </a:r>
                      <a:endParaRPr lang="en-C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llow</a:t>
                      </a:r>
                      <a:r>
                        <a:rPr lang="en-CA" sz="14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guidance in this blueprint.</a:t>
                      </a:r>
                      <a:endParaRPr lang="en-CA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ider launching Info-Tech’s </a:t>
                      </a:r>
                      <a:r>
                        <a:rPr lang="en-CA" sz="1400" i="1" baseline="0" dirty="0">
                          <a:hlinkClick r:id="rId3"/>
                        </a:rPr>
                        <a:t>CIO Business Vision</a:t>
                      </a:r>
                      <a:r>
                        <a:rPr lang="en-CA" sz="1400" i="0" baseline="0" dirty="0"/>
                        <a:t> diagnostic.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2859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r>
                        <a:rPr lang="en-CA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rove basic service desk processes?</a:t>
                      </a:r>
                      <a:endParaRPr lang="en-C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 Info-Tech’s blueprint </a:t>
                      </a:r>
                      <a:r>
                        <a:rPr lang="en-CA" sz="1400" i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4"/>
                        </a:rPr>
                        <a:t>Standardize the Service Desk</a:t>
                      </a:r>
                      <a:r>
                        <a:rPr lang="en-CA" sz="14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i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5"/>
                        </a:rPr>
                        <a:t>Build a Continual Improvement Plan for the Service Des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CA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aseline="0" dirty="0"/>
                        <a:t>Consider launching Info-Tech’s </a:t>
                      </a:r>
                      <a:r>
                        <a:rPr lang="en-CA" sz="1400" i="1" baseline="0" dirty="0">
                          <a:hlinkClick r:id="rId6"/>
                        </a:rPr>
                        <a:t>End User Satisfaction Program</a:t>
                      </a:r>
                      <a:r>
                        <a:rPr lang="en-CA" sz="1400" i="0" baseline="0" dirty="0"/>
                        <a:t>.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18911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 requirements and design an</a:t>
                      </a:r>
                      <a:r>
                        <a:rPr lang="en-CA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FP to o</a:t>
                      </a: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source</a:t>
                      </a:r>
                      <a:r>
                        <a:rPr lang="en-CA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service desk?</a:t>
                      </a:r>
                      <a:endParaRPr lang="en-C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en-CA" sz="1400" i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7"/>
                        </a:rPr>
                        <a:t>Outsource the Service Desk</a:t>
                      </a: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sz="1400" i="0" baseline="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18911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 the dependencies between service management processes to plan an implementation?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en-CA" sz="1400" i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8"/>
                        </a:rPr>
                        <a:t>Create a Service</a:t>
                      </a:r>
                      <a:r>
                        <a:rPr lang="en-CA" sz="14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8"/>
                        </a:rPr>
                        <a:t> Management Roadmap</a:t>
                      </a:r>
                      <a:endParaRPr lang="en-CA" sz="14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aseline="0" dirty="0"/>
                        <a:t>Consider launching Info-Tech’s </a:t>
                      </a:r>
                      <a:r>
                        <a:rPr lang="en-CA" sz="1400" i="1" baseline="0" dirty="0">
                          <a:hlinkClick r:id="rId9"/>
                        </a:rPr>
                        <a:t>IT Management &amp; Governance Diagnostic</a:t>
                      </a:r>
                      <a:r>
                        <a:rPr lang="en-CA" sz="1400" i="0" baseline="0" dirty="0"/>
                        <a:t>.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1537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dirty="0"/>
                        <a:t>Define</a:t>
                      </a:r>
                      <a:r>
                        <a:rPr lang="en-CA" sz="1400" baseline="0" dirty="0"/>
                        <a:t> the internal and external factors affecting the business to formalize your IT strategy?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en-CA" sz="1400" b="0" i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0"/>
                        </a:rPr>
                        <a:t>Build an IT Strategy</a:t>
                      </a:r>
                      <a:r>
                        <a:rPr lang="en-CA" sz="1400" b="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0"/>
                        </a:rPr>
                        <a:t> for the Small Enterprise</a:t>
                      </a:r>
                      <a:r>
                        <a:rPr lang="en-CA" sz="1400" b="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r </a:t>
                      </a:r>
                      <a:r>
                        <a:rPr lang="en-US" sz="1400" b="0" i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1"/>
                        </a:rPr>
                        <a:t>Rapidly Develop a Visual IT Strategy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CA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ider launching Info-Tech’s </a:t>
                      </a:r>
                      <a:r>
                        <a:rPr lang="en-CA" sz="1400" i="1" baseline="0" dirty="0">
                          <a:hlinkClick r:id="rId3"/>
                        </a:rPr>
                        <a:t>CIO Business Vision</a:t>
                      </a:r>
                      <a:r>
                        <a:rPr lang="en-CA" sz="1400" i="0" baseline="0" dirty="0"/>
                        <a:t> diagnostic.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6370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697418" y="3"/>
            <a:ext cx="3446585" cy="64663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1983" y="262358"/>
            <a:ext cx="5067876" cy="877887"/>
          </a:xfrm>
        </p:spPr>
        <p:txBody>
          <a:bodyPr/>
          <a:lstStyle/>
          <a:p>
            <a:pPr>
              <a:tabLst>
                <a:tab pos="0" algn="l"/>
              </a:tabLst>
            </a:pPr>
            <a:r>
              <a:rPr lang="en-CA" b="1" dirty="0">
                <a:solidFill>
                  <a:schemeClr val="tx1"/>
                </a:solidFill>
                <a:latin typeface="+mn-lt"/>
              </a:rPr>
              <a:t>Table of conten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69018" y="1037716"/>
            <a:ext cx="2770496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solidFill>
                  <a:srgbClr val="333333"/>
                </a:solidFill>
              </a:rPr>
              <a:t>Use these navigation shortcuts to find the guidance that best aligns with your strategic needs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69018" y="402598"/>
            <a:ext cx="2876160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26AA6"/>
                </a:solidFill>
              </a:rPr>
              <a:t>STREAMLINE YOUR SEARCH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6704113"/>
              </p:ext>
            </p:extLst>
          </p:nvPr>
        </p:nvGraphicFramePr>
        <p:xfrm>
          <a:off x="6703332" y="1807269"/>
          <a:ext cx="2340000" cy="4548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0476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oking for quick assessment of service desk maturity?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" action="ppaction://noaction"/>
                        </a:rPr>
                        <a:t>Conduct an assessment in Activity 2.2.4.</a:t>
                      </a:r>
                      <a:endParaRPr kumimoji="0" lang="en-CA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CA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298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ed to gain executive buy-in for service support improvement projects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" action="ppaction://noaction"/>
                        </a:rPr>
                        <a:t>Draft a Lean Canvas in </a:t>
                      </a:r>
                      <a:b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" action="ppaction://noaction"/>
                        </a:rPr>
                      </a:b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" action="ppaction://noaction"/>
                        </a:rPr>
                        <a:t>Activity 3.2.1</a:t>
                      </a: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CA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735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d to review strategy</a:t>
                      </a:r>
                      <a:r>
                        <a:rPr lang="en-CA" sz="1200" i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ends in service support?</a:t>
                      </a:r>
                      <a:endParaRPr lang="en-CA" sz="12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" action="ppaction://noaction"/>
                        </a:rPr>
                        <a:t>Work through Step 1.1</a:t>
                      </a: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CA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021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ant to create metrics to measure service support performance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" action="ppaction://noaction"/>
                        </a:rPr>
                        <a:t>Review critical success factors and key performance indicators in Step 2.1</a:t>
                      </a: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CA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Group 10"/>
          <p:cNvGrpSpPr/>
          <p:nvPr/>
        </p:nvGrpSpPr>
        <p:grpSpPr>
          <a:xfrm>
            <a:off x="5965922" y="1889431"/>
            <a:ext cx="601201" cy="2915642"/>
            <a:chOff x="6066590" y="1897820"/>
            <a:chExt cx="601201" cy="2915642"/>
          </a:xfrm>
        </p:grpSpPr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4272" y="1897820"/>
              <a:ext cx="565836" cy="601200"/>
            </a:xfrm>
            <a:prstGeom prst="rect">
              <a:avLst/>
            </a:prstGeom>
          </p:spPr>
        </p:pic>
        <p:pic>
          <p:nvPicPr>
            <p:cNvPr id="15" name="Picture 1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66590" y="2938299"/>
              <a:ext cx="601201" cy="601200"/>
            </a:xfrm>
            <a:prstGeom prst="rect">
              <a:avLst/>
            </a:prstGeom>
          </p:spPr>
        </p:pic>
        <p:pic>
          <p:nvPicPr>
            <p:cNvPr id="16" name="Picture 1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6482" y="4163403"/>
              <a:ext cx="561416" cy="650059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6138" y="5276739"/>
            <a:ext cx="590400" cy="5904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31983" y="1277914"/>
            <a:ext cx="5229226" cy="517064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CA" b="1" dirty="0">
                <a:solidFill>
                  <a:srgbClr val="2576B7"/>
                </a:solidFill>
              </a:rPr>
              <a:t>Phase 1: </a:t>
            </a:r>
            <a:r>
              <a:rPr lang="en-CA" dirty="0">
                <a:solidFill>
                  <a:srgbClr val="2576B7"/>
                </a:solidFill>
              </a:rPr>
              <a:t>Design Target State</a:t>
            </a:r>
          </a:p>
          <a:p>
            <a:r>
              <a:rPr lang="en-US" sz="1200" dirty="0"/>
              <a:t>Review service support trends</a:t>
            </a:r>
            <a:endParaRPr lang="en-CA" sz="1200" dirty="0"/>
          </a:p>
          <a:p>
            <a:r>
              <a:rPr lang="en-CA" sz="1200" dirty="0"/>
              <a:t>Document IT vision, mission, and principles</a:t>
            </a:r>
          </a:p>
          <a:p>
            <a:r>
              <a:rPr lang="en-CA" sz="1200" dirty="0"/>
              <a:t>Define the scope of business requirements</a:t>
            </a:r>
          </a:p>
          <a:p>
            <a:r>
              <a:rPr lang="en-CA" sz="1200" dirty="0"/>
              <a:t>Determine goals and capabilities</a:t>
            </a:r>
          </a:p>
          <a:p>
            <a:endParaRPr lang="en-US" sz="1200" dirty="0"/>
          </a:p>
          <a:p>
            <a:pPr lvl="0">
              <a:defRPr/>
            </a:pPr>
            <a:r>
              <a:rPr lang="en-CA" b="1" dirty="0">
                <a:solidFill>
                  <a:srgbClr val="2576B7"/>
                </a:solidFill>
              </a:rPr>
              <a:t>Phase 2: </a:t>
            </a:r>
            <a:r>
              <a:rPr lang="en-CA" dirty="0">
                <a:solidFill>
                  <a:srgbClr val="2576B7"/>
                </a:solidFill>
              </a:rPr>
              <a:t>Assess Current State</a:t>
            </a:r>
          </a:p>
          <a:p>
            <a:r>
              <a:rPr lang="en-CA" sz="1200" dirty="0"/>
              <a:t>Identify CSFs and KPIs</a:t>
            </a:r>
          </a:p>
          <a:p>
            <a:r>
              <a:rPr lang="en-US" sz="1200" dirty="0"/>
              <a:t>Define the structure of service support</a:t>
            </a:r>
          </a:p>
          <a:p>
            <a:r>
              <a:rPr lang="en-US" sz="1200" dirty="0"/>
              <a:t>Define the structure of the service desk</a:t>
            </a:r>
            <a:endParaRPr lang="en-CA" sz="1200" dirty="0"/>
          </a:p>
          <a:p>
            <a:r>
              <a:rPr lang="en-CA" sz="1200" dirty="0"/>
              <a:t>Perform service desk maturity assessment</a:t>
            </a:r>
          </a:p>
          <a:p>
            <a:pPr lvl="0" defTabSz="914377">
              <a:defRPr/>
            </a:pPr>
            <a:r>
              <a:rPr lang="en-CA" sz="1200" dirty="0"/>
              <a:t>Assess diagnostic results</a:t>
            </a:r>
          </a:p>
          <a:p>
            <a:pPr lvl="0" defTabSz="914377">
              <a:defRPr/>
            </a:pPr>
            <a:r>
              <a:rPr lang="en-CA" sz="1200" dirty="0"/>
              <a:t>Identify service support challenges</a:t>
            </a:r>
          </a:p>
          <a:p>
            <a:pPr lvl="0" defTabSz="914377">
              <a:defRPr/>
            </a:pPr>
            <a:r>
              <a:rPr lang="en-CA" sz="1200" dirty="0"/>
              <a:t>Perform a SWOT analysis</a:t>
            </a:r>
          </a:p>
          <a:p>
            <a:pPr lvl="0" defTabSz="914377">
              <a:defRPr/>
            </a:pPr>
            <a:r>
              <a:rPr lang="en-CA" sz="1200" dirty="0"/>
              <a:t>Identify key areas for improvement</a:t>
            </a:r>
          </a:p>
          <a:p>
            <a:pPr lvl="0" defTabSz="914377">
              <a:defRPr/>
            </a:pPr>
            <a:r>
              <a:rPr lang="en-US" sz="1200" dirty="0"/>
              <a:t>Document in-flight service support initiatives</a:t>
            </a:r>
          </a:p>
          <a:p>
            <a:pPr lvl="0" defTabSz="914377">
              <a:defRPr/>
            </a:pPr>
            <a:r>
              <a:rPr lang="en-US" sz="1200" dirty="0"/>
              <a:t>Document current service support capabilities</a:t>
            </a:r>
          </a:p>
          <a:p>
            <a:pPr lvl="0" defTabSz="914377">
              <a:defRPr/>
            </a:pPr>
            <a:endParaRPr lang="en-US" sz="1200" dirty="0"/>
          </a:p>
          <a:p>
            <a:pPr lvl="0" defTabSz="914377">
              <a:defRPr/>
            </a:pPr>
            <a:r>
              <a:rPr lang="en-CA" b="1" dirty="0">
                <a:solidFill>
                  <a:srgbClr val="2576B7"/>
                </a:solidFill>
              </a:rPr>
              <a:t>Phase 3: </a:t>
            </a:r>
            <a:r>
              <a:rPr lang="en-CA" dirty="0">
                <a:solidFill>
                  <a:srgbClr val="2576B7"/>
                </a:solidFill>
              </a:rPr>
              <a:t>Develop Recommendations</a:t>
            </a:r>
          </a:p>
          <a:p>
            <a:r>
              <a:rPr lang="en-CA" sz="1200" dirty="0"/>
              <a:t>Perform a gap analysis for service support capabilities</a:t>
            </a:r>
          </a:p>
          <a:p>
            <a:r>
              <a:rPr lang="en-CA" sz="1200" dirty="0"/>
              <a:t>Identify key initiatives to bridge the gap</a:t>
            </a:r>
          </a:p>
          <a:p>
            <a:r>
              <a:rPr lang="en-CA" sz="1200" dirty="0"/>
              <a:t>Connect initiatives to capabilities and goals</a:t>
            </a:r>
          </a:p>
          <a:p>
            <a:r>
              <a:rPr lang="en-US" sz="1200" dirty="0"/>
              <a:t>Create profiles for each initiative</a:t>
            </a:r>
          </a:p>
          <a:p>
            <a:r>
              <a:rPr lang="en-US" sz="1200" dirty="0"/>
              <a:t>Use a Service Support Strategy Roadmap to sequence initiatives</a:t>
            </a:r>
          </a:p>
          <a:p>
            <a:r>
              <a:rPr lang="en-US" sz="1200" dirty="0"/>
              <a:t>Create a communication plan</a:t>
            </a:r>
            <a:endParaRPr lang="en-CA" sz="1200" i="1" dirty="0"/>
          </a:p>
          <a:p>
            <a:endParaRPr lang="en-CA" sz="1200" dirty="0"/>
          </a:p>
        </p:txBody>
      </p:sp>
      <p:sp>
        <p:nvSpPr>
          <p:cNvPr id="13" name="Rectangle 12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0551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3917451"/>
            <a:ext cx="9144000" cy="19991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0" y="1283184"/>
            <a:ext cx="9144000" cy="19991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project tools and templates to build key deliverables and accelerate your project</a:t>
            </a:r>
            <a:endParaRPr lang="en-CA" dirty="0"/>
          </a:p>
        </p:txBody>
      </p:sp>
      <p:sp>
        <p:nvSpPr>
          <p:cNvPr id="3" name="TextBox 2"/>
          <p:cNvSpPr txBox="1"/>
          <p:nvPr/>
        </p:nvSpPr>
        <p:spPr>
          <a:xfrm>
            <a:off x="1550210" y="3296621"/>
            <a:ext cx="19397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Service Desk </a:t>
            </a:r>
          </a:p>
          <a:p>
            <a:pPr algn="ctr"/>
            <a:r>
              <a:rPr lang="en-US" sz="1200" b="1" dirty="0"/>
              <a:t>Maturity Assess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168" y="1706615"/>
            <a:ext cx="1452346" cy="10972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/>
        </p:nvSpPr>
        <p:spPr>
          <a:xfrm>
            <a:off x="3718531" y="3308581"/>
            <a:ext cx="1939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33333"/>
                </a:solidFill>
              </a:rPr>
              <a:t>SWOT Analysi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03138" y="3303182"/>
            <a:ext cx="19397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33333"/>
                </a:solidFill>
              </a:rPr>
              <a:t>Service Support Strategy Worksheet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521" y="4224187"/>
            <a:ext cx="1550922" cy="116134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TextBox 21"/>
          <p:cNvSpPr txBox="1"/>
          <p:nvPr/>
        </p:nvSpPr>
        <p:spPr>
          <a:xfrm>
            <a:off x="5839521" y="5870321"/>
            <a:ext cx="1638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33333"/>
                </a:solidFill>
              </a:rPr>
              <a:t>Executive Presentation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9521" y="1382319"/>
            <a:ext cx="1213485" cy="14859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0346" y="1565987"/>
            <a:ext cx="1217295" cy="14630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3138" y="1742035"/>
            <a:ext cx="1209675" cy="14478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extBox 16"/>
          <p:cNvSpPr txBox="1"/>
          <p:nvPr/>
        </p:nvSpPr>
        <p:spPr>
          <a:xfrm>
            <a:off x="1550210" y="5889325"/>
            <a:ext cx="19397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33333"/>
                </a:solidFill>
              </a:rPr>
              <a:t>Service Support Strategy Ex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84993" y="3954777"/>
            <a:ext cx="1213485" cy="14859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65818" y="4138445"/>
            <a:ext cx="1217295" cy="14630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8610" y="4314493"/>
            <a:ext cx="1209675" cy="14478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1308F061-2CCF-4FF3-88CE-359755878D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33850" y="3954777"/>
            <a:ext cx="1213485" cy="14859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9E74686F-79FA-4A54-AC11-472334D196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4675" y="4138445"/>
            <a:ext cx="1217295" cy="14630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C2DB1089-54FC-47AF-A7D8-FFE01BFEAE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7467" y="4314493"/>
            <a:ext cx="1209675" cy="14478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5775900-74D2-4B4E-8FED-28C1842FF506}"/>
              </a:ext>
            </a:extLst>
          </p:cNvPr>
          <p:cNvSpPr txBox="1"/>
          <p:nvPr/>
        </p:nvSpPr>
        <p:spPr>
          <a:xfrm>
            <a:off x="3597383" y="5889325"/>
            <a:ext cx="1939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33333"/>
                </a:solidFill>
              </a:rPr>
              <a:t>IT Vision, Mission, Guiding Principles, and  Implication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144" y="1711094"/>
            <a:ext cx="1885771" cy="113763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4" name="Rectangle 33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784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319" y="1476507"/>
            <a:ext cx="2381097" cy="30870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project’s key deliverable is a service support strategy</a:t>
            </a:r>
            <a:endParaRPr lang="en-CA" dirty="0"/>
          </a:p>
        </p:txBody>
      </p:sp>
      <p:sp>
        <p:nvSpPr>
          <p:cNvPr id="6" name="Rectangle 5"/>
          <p:cNvSpPr/>
          <p:nvPr/>
        </p:nvSpPr>
        <p:spPr>
          <a:xfrm>
            <a:off x="412968" y="1476507"/>
            <a:ext cx="4347540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CA" sz="1600" dirty="0">
                <a:solidFill>
                  <a:srgbClr val="333333"/>
                </a:solidFill>
              </a:rPr>
              <a:t>Info-Tech’s </a:t>
            </a:r>
            <a:r>
              <a:rPr lang="en-CA" sz="1600" i="1" dirty="0">
                <a:solidFill>
                  <a:srgbClr val="333333"/>
                </a:solidFill>
                <a:hlinkClick r:id="rId4"/>
              </a:rPr>
              <a:t>Service Support Strategy Worksheet</a:t>
            </a:r>
            <a:r>
              <a:rPr lang="en-CA" sz="1600" i="1" dirty="0">
                <a:solidFill>
                  <a:srgbClr val="333333"/>
                </a:solidFill>
              </a:rPr>
              <a:t> </a:t>
            </a:r>
            <a:r>
              <a:rPr lang="en-CA" sz="1600" dirty="0">
                <a:solidFill>
                  <a:srgbClr val="333333"/>
                </a:solidFill>
              </a:rPr>
              <a:t>can be customized to reflect your processes and organization and will help you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600" dirty="0">
                <a:solidFill>
                  <a:srgbClr val="333333"/>
                </a:solidFill>
              </a:rPr>
              <a:t>Document your organization’s support requirements.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600" dirty="0">
                <a:solidFill>
                  <a:srgbClr val="333333"/>
                </a:solidFill>
              </a:rPr>
              <a:t>Outline existing service support structure, process, and performance.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600" dirty="0">
                <a:solidFill>
                  <a:srgbClr val="333333"/>
                </a:solidFill>
              </a:rPr>
              <a:t>Define strategic goals and objectives.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600" dirty="0">
                <a:solidFill>
                  <a:srgbClr val="333333"/>
                </a:solidFill>
              </a:rPr>
              <a:t>Identify the nature, type, and size of the target service desk.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600" dirty="0">
                <a:solidFill>
                  <a:srgbClr val="333333"/>
                </a:solidFill>
              </a:rPr>
              <a:t>Identify implementation items, risks, dependencies, and accountabilities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rgbClr val="333333"/>
                </a:solidFill>
              </a:rPr>
              <a:t>The project blueprint includes </a:t>
            </a:r>
            <a:r>
              <a:rPr lang="en-US" sz="1600" b="1" dirty="0">
                <a:solidFill>
                  <a:srgbClr val="333333"/>
                </a:solidFill>
              </a:rPr>
              <a:t>four sample service support strategies</a:t>
            </a:r>
            <a:r>
              <a:rPr lang="en-US" sz="1600" dirty="0">
                <a:solidFill>
                  <a:srgbClr val="333333"/>
                </a:solidFill>
              </a:rPr>
              <a:t> based on past engagements. Use them to inspire your own work.</a:t>
            </a:r>
            <a:endParaRPr lang="en-CA" sz="1600" dirty="0">
              <a:solidFill>
                <a:srgbClr val="333333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1988" y="2550976"/>
            <a:ext cx="2381925" cy="30990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1284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Down Arrow 109"/>
          <p:cNvSpPr/>
          <p:nvPr/>
        </p:nvSpPr>
        <p:spPr>
          <a:xfrm>
            <a:off x="6047104" y="1345530"/>
            <a:ext cx="256838" cy="4870632"/>
          </a:xfrm>
          <a:prstGeom prst="downArrow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09" name="Down Arrow 108"/>
          <p:cNvSpPr/>
          <p:nvPr/>
        </p:nvSpPr>
        <p:spPr>
          <a:xfrm>
            <a:off x="3147155" y="1345530"/>
            <a:ext cx="239309" cy="487063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1" name="Down Arrow 10"/>
          <p:cNvSpPr/>
          <p:nvPr/>
        </p:nvSpPr>
        <p:spPr>
          <a:xfrm>
            <a:off x="294748" y="1345530"/>
            <a:ext cx="234205" cy="4870632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Map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463612" y="1389215"/>
            <a:ext cx="2620884" cy="57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600" b="1" dirty="0">
                <a:solidFill>
                  <a:schemeClr val="accent1"/>
                </a:solidFill>
              </a:rPr>
              <a:t>PHASE 1:</a:t>
            </a:r>
            <a:r>
              <a:rPr lang="en-CA" sz="1600" dirty="0">
                <a:solidFill>
                  <a:schemeClr val="accent1"/>
                </a:solidFill>
              </a:rPr>
              <a:t> </a:t>
            </a:r>
          </a:p>
          <a:p>
            <a:r>
              <a:rPr lang="en-CA" sz="1400" dirty="0">
                <a:solidFill>
                  <a:srgbClr val="333333"/>
                </a:solidFill>
              </a:rPr>
              <a:t>Design Target State</a:t>
            </a:r>
          </a:p>
        </p:txBody>
      </p:sp>
      <p:sp>
        <p:nvSpPr>
          <p:cNvPr id="6" name="Rectangle 5"/>
          <p:cNvSpPr/>
          <p:nvPr/>
        </p:nvSpPr>
        <p:spPr>
          <a:xfrm>
            <a:off x="3361105" y="1320924"/>
            <a:ext cx="2608729" cy="70231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600" b="1" dirty="0">
                <a:solidFill>
                  <a:schemeClr val="accent2"/>
                </a:solidFill>
              </a:rPr>
              <a:t>PHASE 2:</a:t>
            </a:r>
            <a:r>
              <a:rPr lang="en-CA" sz="1600" dirty="0">
                <a:solidFill>
                  <a:schemeClr val="accent2"/>
                </a:solidFill>
              </a:rPr>
              <a:t> </a:t>
            </a:r>
          </a:p>
          <a:p>
            <a:r>
              <a:rPr lang="en-CA" sz="1400" dirty="0">
                <a:solidFill>
                  <a:srgbClr val="333333"/>
                </a:solidFill>
              </a:rPr>
              <a:t>Assess Current Stat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246443" y="1296401"/>
            <a:ext cx="2599787" cy="712397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600" b="1" dirty="0">
                <a:solidFill>
                  <a:schemeClr val="accent3"/>
                </a:solidFill>
              </a:rPr>
              <a:t>PHASE 3:</a:t>
            </a:r>
            <a:r>
              <a:rPr lang="en-CA" sz="1600" dirty="0">
                <a:solidFill>
                  <a:schemeClr val="accent3"/>
                </a:solidFill>
              </a:rPr>
              <a:t> </a:t>
            </a:r>
          </a:p>
          <a:p>
            <a:r>
              <a:rPr lang="en-CA" sz="1400" dirty="0">
                <a:solidFill>
                  <a:srgbClr val="333333"/>
                </a:solidFill>
              </a:rPr>
              <a:t>Develop Recommend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56435" y="2321780"/>
            <a:ext cx="2520000" cy="6512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CA" sz="1400" dirty="0">
                <a:solidFill>
                  <a:schemeClr val="tx1"/>
                </a:solidFill>
              </a:rPr>
              <a:t>Review strategy trends</a:t>
            </a:r>
          </a:p>
        </p:txBody>
      </p:sp>
      <p:sp>
        <p:nvSpPr>
          <p:cNvPr id="4" name="Pentagon 3"/>
          <p:cNvSpPr/>
          <p:nvPr/>
        </p:nvSpPr>
        <p:spPr>
          <a:xfrm>
            <a:off x="253755" y="2319750"/>
            <a:ext cx="633345" cy="65324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/>
              <a:t>1.1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57145" y="3131820"/>
            <a:ext cx="2520000" cy="6829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CA" sz="1400" dirty="0">
                <a:solidFill>
                  <a:schemeClr val="tx1"/>
                </a:solidFill>
              </a:rPr>
              <a:t>Document the IT strategy</a:t>
            </a:r>
          </a:p>
        </p:txBody>
      </p:sp>
      <p:sp>
        <p:nvSpPr>
          <p:cNvPr id="55" name="Pentagon 54"/>
          <p:cNvSpPr/>
          <p:nvPr/>
        </p:nvSpPr>
        <p:spPr>
          <a:xfrm>
            <a:off x="268103" y="3129228"/>
            <a:ext cx="604811" cy="685536"/>
          </a:xfrm>
          <a:prstGeom prst="homePlate">
            <a:avLst>
              <a:gd name="adj" fmla="val 3945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/>
              <a:t>1.2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445944" y="2315798"/>
            <a:ext cx="2520000" cy="6576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CA" sz="1400" dirty="0">
                <a:solidFill>
                  <a:schemeClr val="tx1"/>
                </a:solidFill>
              </a:rPr>
              <a:t>Identify CSFs and KPIs</a:t>
            </a:r>
          </a:p>
        </p:txBody>
      </p:sp>
      <p:sp>
        <p:nvSpPr>
          <p:cNvPr id="73" name="Pentagon 72"/>
          <p:cNvSpPr/>
          <p:nvPr/>
        </p:nvSpPr>
        <p:spPr>
          <a:xfrm>
            <a:off x="3143264" y="2313768"/>
            <a:ext cx="633345" cy="660153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/>
              <a:t>2.1</a:t>
            </a:r>
          </a:p>
        </p:txBody>
      </p:sp>
      <p:sp>
        <p:nvSpPr>
          <p:cNvPr id="76" name="Rectangle 75"/>
          <p:cNvSpPr/>
          <p:nvPr/>
        </p:nvSpPr>
        <p:spPr>
          <a:xfrm>
            <a:off x="3439913" y="3131820"/>
            <a:ext cx="2520000" cy="6829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CA" sz="1400" dirty="0">
                <a:solidFill>
                  <a:schemeClr val="tx1"/>
                </a:solidFill>
              </a:rPr>
              <a:t>Identify strengths and challenges</a:t>
            </a:r>
          </a:p>
        </p:txBody>
      </p:sp>
      <p:sp>
        <p:nvSpPr>
          <p:cNvPr id="82" name="Pentagon 81"/>
          <p:cNvSpPr/>
          <p:nvPr/>
        </p:nvSpPr>
        <p:spPr>
          <a:xfrm>
            <a:off x="3137234" y="3129228"/>
            <a:ext cx="633345" cy="685536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/>
              <a:t>2.2</a:t>
            </a:r>
          </a:p>
        </p:txBody>
      </p:sp>
      <p:sp>
        <p:nvSpPr>
          <p:cNvPr id="49" name="Rectangle 48"/>
          <p:cNvSpPr/>
          <p:nvPr/>
        </p:nvSpPr>
        <p:spPr>
          <a:xfrm>
            <a:off x="6322811" y="2315797"/>
            <a:ext cx="2520000" cy="657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CA" sz="1400" dirty="0">
                <a:solidFill>
                  <a:schemeClr val="tx1"/>
                </a:solidFill>
              </a:rPr>
              <a:t>Identify target initiatives</a:t>
            </a:r>
          </a:p>
        </p:txBody>
      </p:sp>
      <p:sp>
        <p:nvSpPr>
          <p:cNvPr id="50" name="Pentagon 49"/>
          <p:cNvSpPr/>
          <p:nvPr/>
        </p:nvSpPr>
        <p:spPr>
          <a:xfrm>
            <a:off x="6020150" y="2313768"/>
            <a:ext cx="633304" cy="659687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/>
              <a:t>3.1</a:t>
            </a:r>
          </a:p>
        </p:txBody>
      </p:sp>
      <p:sp>
        <p:nvSpPr>
          <p:cNvPr id="52" name="Rectangle 51"/>
          <p:cNvSpPr/>
          <p:nvPr/>
        </p:nvSpPr>
        <p:spPr>
          <a:xfrm>
            <a:off x="6322829" y="3131820"/>
            <a:ext cx="2520000" cy="6829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CA" sz="1400" dirty="0">
                <a:solidFill>
                  <a:schemeClr val="tx1"/>
                </a:solidFill>
              </a:rPr>
              <a:t>Plan implementation</a:t>
            </a:r>
          </a:p>
        </p:txBody>
      </p:sp>
      <p:sp>
        <p:nvSpPr>
          <p:cNvPr id="53" name="Pentagon 52"/>
          <p:cNvSpPr/>
          <p:nvPr/>
        </p:nvSpPr>
        <p:spPr>
          <a:xfrm>
            <a:off x="6020150" y="3129228"/>
            <a:ext cx="633345" cy="685536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/>
              <a:t>3.2</a:t>
            </a:r>
          </a:p>
        </p:txBody>
      </p:sp>
      <p:sp>
        <p:nvSpPr>
          <p:cNvPr id="12" name="Flowchart: Document 11"/>
          <p:cNvSpPr/>
          <p:nvPr/>
        </p:nvSpPr>
        <p:spPr>
          <a:xfrm>
            <a:off x="4747704" y="4001015"/>
            <a:ext cx="1222130" cy="756138"/>
          </a:xfrm>
          <a:prstGeom prst="flowChartDocument">
            <a:avLst/>
          </a:prstGeom>
          <a:solidFill>
            <a:srgbClr val="B0C534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WOT Analysis</a:t>
            </a:r>
            <a:endParaRPr lang="en-CA" sz="1200" dirty="0"/>
          </a:p>
        </p:txBody>
      </p:sp>
      <p:sp>
        <p:nvSpPr>
          <p:cNvPr id="97" name="Flowchart: Document 96"/>
          <p:cNvSpPr/>
          <p:nvPr/>
        </p:nvSpPr>
        <p:spPr>
          <a:xfrm>
            <a:off x="4296214" y="4585550"/>
            <a:ext cx="1222130" cy="756138"/>
          </a:xfrm>
          <a:prstGeom prst="flowChartDocument">
            <a:avLst/>
          </a:prstGeom>
          <a:solidFill>
            <a:srgbClr val="B0C534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ervice Desk Maturity Assessment</a:t>
            </a:r>
            <a:endParaRPr lang="en-CA" sz="1200" dirty="0"/>
          </a:p>
        </p:txBody>
      </p:sp>
      <p:sp>
        <p:nvSpPr>
          <p:cNvPr id="98" name="Flowchart: Document 97"/>
          <p:cNvSpPr/>
          <p:nvPr/>
        </p:nvSpPr>
        <p:spPr>
          <a:xfrm>
            <a:off x="7543461" y="4001015"/>
            <a:ext cx="1222130" cy="756138"/>
          </a:xfrm>
          <a:prstGeom prst="flowChartDocument">
            <a:avLst/>
          </a:prstGeom>
          <a:solidFill>
            <a:srgbClr val="96B8D2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arget Initiatives</a:t>
            </a:r>
            <a:endParaRPr lang="en-CA" sz="1200" dirty="0"/>
          </a:p>
        </p:txBody>
      </p:sp>
      <p:sp>
        <p:nvSpPr>
          <p:cNvPr id="101" name="Flowchart: Document 100"/>
          <p:cNvSpPr/>
          <p:nvPr/>
        </p:nvSpPr>
        <p:spPr>
          <a:xfrm>
            <a:off x="6932396" y="4585550"/>
            <a:ext cx="1222130" cy="756138"/>
          </a:xfrm>
          <a:prstGeom prst="flowChartDocument">
            <a:avLst/>
          </a:prstGeom>
          <a:solidFill>
            <a:schemeClr val="accent3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ction Plan</a:t>
            </a:r>
            <a:endParaRPr lang="en-CA" sz="1200" dirty="0"/>
          </a:p>
        </p:txBody>
      </p:sp>
      <p:sp>
        <p:nvSpPr>
          <p:cNvPr id="33" name="Flowchart: Document 32"/>
          <p:cNvSpPr/>
          <p:nvPr/>
        </p:nvSpPr>
        <p:spPr>
          <a:xfrm>
            <a:off x="3488370" y="5234417"/>
            <a:ext cx="1222130" cy="756138"/>
          </a:xfrm>
          <a:prstGeom prst="flowChartDocument">
            <a:avLst/>
          </a:prstGeom>
          <a:solidFill>
            <a:srgbClr val="B0C534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Governance Metrics</a:t>
            </a:r>
            <a:endParaRPr lang="en-CA" sz="1200" dirty="0"/>
          </a:p>
        </p:txBody>
      </p:sp>
      <p:sp>
        <p:nvSpPr>
          <p:cNvPr id="35" name="Flowchart: Document 34"/>
          <p:cNvSpPr/>
          <p:nvPr/>
        </p:nvSpPr>
        <p:spPr>
          <a:xfrm>
            <a:off x="1851477" y="3973594"/>
            <a:ext cx="1222130" cy="756138"/>
          </a:xfrm>
          <a:prstGeom prst="flowChartDocument">
            <a:avLst/>
          </a:prstGeom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rategy Trends</a:t>
            </a:r>
            <a:endParaRPr lang="en-CA" sz="1200" dirty="0"/>
          </a:p>
        </p:txBody>
      </p:sp>
      <p:sp>
        <p:nvSpPr>
          <p:cNvPr id="36" name="Flowchart: Document 35"/>
          <p:cNvSpPr/>
          <p:nvPr/>
        </p:nvSpPr>
        <p:spPr>
          <a:xfrm>
            <a:off x="1309000" y="4560468"/>
            <a:ext cx="1222130" cy="756138"/>
          </a:xfrm>
          <a:prstGeom prst="flowChartDocument">
            <a:avLst/>
          </a:prstGeom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T Strategy Review </a:t>
            </a:r>
            <a:endParaRPr lang="en-CA" sz="1200" dirty="0"/>
          </a:p>
        </p:txBody>
      </p:sp>
      <p:sp>
        <p:nvSpPr>
          <p:cNvPr id="37" name="Flowchart: Document 36"/>
          <p:cNvSpPr/>
          <p:nvPr/>
        </p:nvSpPr>
        <p:spPr>
          <a:xfrm>
            <a:off x="679048" y="5168361"/>
            <a:ext cx="1222130" cy="756138"/>
          </a:xfrm>
          <a:prstGeom prst="flowChartDocument">
            <a:avLst/>
          </a:prstGeom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ervice Support Goals</a:t>
            </a:r>
            <a:endParaRPr lang="en-CA" sz="1200" dirty="0"/>
          </a:p>
        </p:txBody>
      </p:sp>
      <p:sp>
        <p:nvSpPr>
          <p:cNvPr id="29" name="Rectangle 28"/>
          <p:cNvSpPr/>
          <p:nvPr/>
        </p:nvSpPr>
        <p:spPr>
          <a:xfrm>
            <a:off x="235297" y="6589331"/>
            <a:ext cx="122413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b="1" dirty="0" smtClean="0">
                <a:solidFill>
                  <a:srgbClr val="FFFFFF">
                    <a:lumMod val="85000"/>
                  </a:srgbClr>
                </a:solidFill>
                <a:cs typeface="Arial" panose="020B0604020202020204" pitchFamily="34" charset="0"/>
              </a:rPr>
              <a:t>SAMPLE</a:t>
            </a:r>
            <a:endParaRPr lang="en-CA" b="1" dirty="0">
              <a:solidFill>
                <a:srgbClr val="FFFFFF">
                  <a:lumMod val="85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647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aa79565a41421d0e5a461827ab8a64c2a6dcf93"/>
  <p:tag name="ISPRING_RESOURCE_PATHS_HASH_2" val="b4f66ad4a07985a5d9c49e97317bbc23e3ea47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b3rnKARES7TStcX.y_vA"/>
</p:tagLst>
</file>

<file path=ppt/theme/theme1.xml><?xml version="1.0" encoding="utf-8"?>
<a:theme xmlns:a="http://schemas.openxmlformats.org/drawingml/2006/main" name="Theme1">
  <a:themeElements>
    <a:clrScheme name="Harmony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9475F"/>
      </a:accent1>
      <a:accent2>
        <a:srgbClr val="B0C534"/>
      </a:accent2>
      <a:accent3>
        <a:srgbClr val="96B8D2"/>
      </a:accent3>
      <a:accent4>
        <a:srgbClr val="FFFFFF"/>
      </a:accent4>
      <a:accent5>
        <a:srgbClr val="FFFFFF"/>
      </a:accent5>
      <a:accent6>
        <a:srgbClr val="FFFFFF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non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2.xml><?xml version="1.0" encoding="utf-8"?>
<a:theme xmlns:a="http://schemas.openxmlformats.org/drawingml/2006/main" name="2_Theme1">
  <a:themeElements>
    <a:clrScheme name="Harmony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9475F"/>
      </a:accent1>
      <a:accent2>
        <a:srgbClr val="B0C534"/>
      </a:accent2>
      <a:accent3>
        <a:srgbClr val="96B8D2"/>
      </a:accent3>
      <a:accent4>
        <a:srgbClr val="FFFFFF"/>
      </a:accent4>
      <a:accent5>
        <a:srgbClr val="FFFFFF"/>
      </a:accent5>
      <a:accent6>
        <a:srgbClr val="FFFFFF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non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1</Words>
  <Application>Microsoft Office PowerPoint</Application>
  <PresentationFormat>On-screen Show (4:3)</PresentationFormat>
  <Paragraphs>217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  <vt:variant>
        <vt:lpstr>Custom Shows</vt:lpstr>
      </vt:variant>
      <vt:variant>
        <vt:i4>1</vt:i4>
      </vt:variant>
    </vt:vector>
  </HeadingPairs>
  <TitlesOfParts>
    <vt:vector size="21" baseType="lpstr">
      <vt:lpstr>Arial</vt:lpstr>
      <vt:lpstr>Calibri</vt:lpstr>
      <vt:lpstr>Georgia</vt:lpstr>
      <vt:lpstr>Raleway</vt:lpstr>
      <vt:lpstr>Roboto</vt:lpstr>
      <vt:lpstr>Wingdings</vt:lpstr>
      <vt:lpstr>Theme1</vt:lpstr>
      <vt:lpstr>2_Theme1</vt:lpstr>
      <vt:lpstr>PowerPoint Presentation</vt:lpstr>
      <vt:lpstr>ANALYST PERSPECTIVE</vt:lpstr>
      <vt:lpstr>Executive summary</vt:lpstr>
      <vt:lpstr>PowerPoint Presentation</vt:lpstr>
      <vt:lpstr>Is this research right for you?</vt:lpstr>
      <vt:lpstr>Table of contents</vt:lpstr>
      <vt:lpstr>Use the project tools and templates to build key deliverables and accelerate your project</vt:lpstr>
      <vt:lpstr>The project’s key deliverable is a service support strategy</vt:lpstr>
      <vt:lpstr>Project Map</vt:lpstr>
      <vt:lpstr>PowerPoint Presentation</vt:lpstr>
      <vt:lpstr>Make the case to garner support</vt:lpstr>
      <vt:lpstr>PowerPoint Presentation</vt:lpstr>
      <vt:lpstr>Custom Show 1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6-05T18:47:41Z</dcterms:created>
  <dcterms:modified xsi:type="dcterms:W3CDTF">2019-06-05T19:43:18Z</dcterms:modified>
</cp:coreProperties>
</file>